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slides/slide81.xml" ContentType="application/vnd.openxmlformats-officedocument.presentationml.slide+xml"/>
  <Override PartName="/ppt/tags/tag271.xml" ContentType="application/vnd.openxmlformats-officedocument.presentationml.tags+xml"/>
  <Override PartName="/ppt/notesSlides/notesSlide81.xml" ContentType="application/vnd.openxmlformats-officedocument.presentationml.notesSlide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51" r:id="rId8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Relationship Type="http://schemas.openxmlformats.org/officeDocument/2006/relationships/slide" Target="/ppt/slides/slide81.xml" Id="rId84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85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81.xml.rels>&#65279;<?xml version="1.0" encoding="utf-8"?><Relationships xmlns="http://schemas.openxmlformats.org/package/2006/relationships"><Relationship Type="http://schemas.openxmlformats.org/officeDocument/2006/relationships/slide" Target="/ppt/slides/slide81.xml" Id="rId2" /><Relationship Type="http://schemas.openxmlformats.org/officeDocument/2006/relationships/notesMaster" Target="/ppt/notesMasters/notesMaster1.xml" Id="rId1" /></Relationship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87119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8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71.xml" Id="rId2" /><Relationship Type="http://schemas.openxmlformats.org/officeDocument/2006/relationships/vmlDrawing" Target="/ppt/drawings/vmlDrawing85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85.bin" Id="rId5" /><Relationship Type="http://schemas.openxmlformats.org/officeDocument/2006/relationships/notesSlide" Target="/ppt/notesSlides/notesSlide81.xml" Id="rId4" /></Relationships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BB9D88-0714-79FE-3503-FDCE12D89C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152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9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BB9D88-0714-79FE-3503-FDCE12D89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4" name="Group 4"/>
          <p:cNvGrpSpPr>
            <a:grpSpLocks noChangeAspect="1"/>
          </p:cNvGrpSpPr>
          <p:nvPr/>
        </p:nvGrpSpPr>
        <p:grpSpPr bwMode="auto">
          <a:xfrm>
            <a:off x="3299780" y="1557338"/>
            <a:ext cx="8576940" cy="4500562"/>
            <a:chOff x="762" y="1755"/>
            <a:chExt cx="4362" cy="2567"/>
          </a:xfrm>
          <a:solidFill>
            <a:schemeClr val="bg2"/>
          </a:solidFill>
        </p:grpSpPr>
        <p:sp>
          <p:nvSpPr>
            <p:cNvPr id="163" name="Freeform 9"/>
            <p:cNvSpPr>
              <a:spLocks/>
            </p:cNvSpPr>
            <p:nvPr/>
          </p:nvSpPr>
          <p:spPr bwMode="auto">
            <a:xfrm>
              <a:off x="1229" y="2907"/>
              <a:ext cx="31" cy="31"/>
            </a:xfrm>
            <a:custGeom>
              <a:avLst/>
              <a:gdLst>
                <a:gd name="T0" fmla="*/ 3 w 15"/>
                <a:gd name="T1" fmla="*/ 1 h 15"/>
                <a:gd name="T2" fmla="*/ 6 w 15"/>
                <a:gd name="T3" fmla="*/ 6 h 15"/>
                <a:gd name="T4" fmla="*/ 9 w 15"/>
                <a:gd name="T5" fmla="*/ 0 h 15"/>
                <a:gd name="T6" fmla="*/ 15 w 15"/>
                <a:gd name="T7" fmla="*/ 7 h 15"/>
                <a:gd name="T8" fmla="*/ 8 w 15"/>
                <a:gd name="T9" fmla="*/ 15 h 15"/>
                <a:gd name="T10" fmla="*/ 0 w 15"/>
                <a:gd name="T11" fmla="*/ 7 h 15"/>
                <a:gd name="T12" fmla="*/ 3 w 15"/>
                <a:gd name="T13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5">
                  <a:moveTo>
                    <a:pt x="3" y="1"/>
                  </a:moveTo>
                  <a:cubicBezTo>
                    <a:pt x="5" y="3"/>
                    <a:pt x="5" y="5"/>
                    <a:pt x="6" y="6"/>
                  </a:cubicBezTo>
                  <a:cubicBezTo>
                    <a:pt x="6" y="7"/>
                    <a:pt x="11" y="4"/>
                    <a:pt x="9" y="0"/>
                  </a:cubicBezTo>
                  <a:cubicBezTo>
                    <a:pt x="12" y="0"/>
                    <a:pt x="15" y="4"/>
                    <a:pt x="15" y="7"/>
                  </a:cubicBezTo>
                  <a:cubicBezTo>
                    <a:pt x="15" y="11"/>
                    <a:pt x="12" y="15"/>
                    <a:pt x="8" y="15"/>
                  </a:cubicBezTo>
                  <a:cubicBezTo>
                    <a:pt x="4" y="15"/>
                    <a:pt x="0" y="11"/>
                    <a:pt x="0" y="7"/>
                  </a:cubicBezTo>
                  <a:cubicBezTo>
                    <a:pt x="0" y="5"/>
                    <a:pt x="2" y="3"/>
                    <a:pt x="3" y="1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4" name="Freeform 10"/>
            <p:cNvSpPr>
              <a:spLocks/>
            </p:cNvSpPr>
            <p:nvPr/>
          </p:nvSpPr>
          <p:spPr bwMode="auto">
            <a:xfrm>
              <a:off x="4234" y="2453"/>
              <a:ext cx="421" cy="565"/>
            </a:xfrm>
            <a:custGeom>
              <a:avLst/>
              <a:gdLst>
                <a:gd name="T0" fmla="*/ 193 w 202"/>
                <a:gd name="T1" fmla="*/ 56 h 271"/>
                <a:gd name="T2" fmla="*/ 200 w 202"/>
                <a:gd name="T3" fmla="*/ 95 h 271"/>
                <a:gd name="T4" fmla="*/ 181 w 202"/>
                <a:gd name="T5" fmla="*/ 88 h 271"/>
                <a:gd name="T6" fmla="*/ 164 w 202"/>
                <a:gd name="T7" fmla="*/ 88 h 271"/>
                <a:gd name="T8" fmla="*/ 155 w 202"/>
                <a:gd name="T9" fmla="*/ 104 h 271"/>
                <a:gd name="T10" fmla="*/ 154 w 202"/>
                <a:gd name="T11" fmla="*/ 124 h 271"/>
                <a:gd name="T12" fmla="*/ 164 w 202"/>
                <a:gd name="T13" fmla="*/ 144 h 271"/>
                <a:gd name="T14" fmla="*/ 167 w 202"/>
                <a:gd name="T15" fmla="*/ 169 h 271"/>
                <a:gd name="T16" fmla="*/ 176 w 202"/>
                <a:gd name="T17" fmla="*/ 184 h 271"/>
                <a:gd name="T18" fmla="*/ 193 w 202"/>
                <a:gd name="T19" fmla="*/ 181 h 271"/>
                <a:gd name="T20" fmla="*/ 187 w 202"/>
                <a:gd name="T21" fmla="*/ 198 h 271"/>
                <a:gd name="T22" fmla="*/ 178 w 202"/>
                <a:gd name="T23" fmla="*/ 213 h 271"/>
                <a:gd name="T24" fmla="*/ 163 w 202"/>
                <a:gd name="T25" fmla="*/ 231 h 271"/>
                <a:gd name="T26" fmla="*/ 161 w 202"/>
                <a:gd name="T27" fmla="*/ 217 h 271"/>
                <a:gd name="T28" fmla="*/ 147 w 202"/>
                <a:gd name="T29" fmla="*/ 227 h 271"/>
                <a:gd name="T30" fmla="*/ 127 w 202"/>
                <a:gd name="T31" fmla="*/ 241 h 271"/>
                <a:gd name="T32" fmla="*/ 130 w 202"/>
                <a:gd name="T33" fmla="*/ 255 h 271"/>
                <a:gd name="T34" fmla="*/ 113 w 202"/>
                <a:gd name="T35" fmla="*/ 269 h 271"/>
                <a:gd name="T36" fmla="*/ 103 w 202"/>
                <a:gd name="T37" fmla="*/ 260 h 271"/>
                <a:gd name="T38" fmla="*/ 89 w 202"/>
                <a:gd name="T39" fmla="*/ 260 h 271"/>
                <a:gd name="T40" fmla="*/ 74 w 202"/>
                <a:gd name="T41" fmla="*/ 266 h 271"/>
                <a:gd name="T42" fmla="*/ 75 w 202"/>
                <a:gd name="T43" fmla="*/ 253 h 271"/>
                <a:gd name="T44" fmla="*/ 75 w 202"/>
                <a:gd name="T45" fmla="*/ 245 h 271"/>
                <a:gd name="T46" fmla="*/ 59 w 202"/>
                <a:gd name="T47" fmla="*/ 230 h 271"/>
                <a:gd name="T48" fmla="*/ 36 w 202"/>
                <a:gd name="T49" fmla="*/ 238 h 271"/>
                <a:gd name="T50" fmla="*/ 30 w 202"/>
                <a:gd name="T51" fmla="*/ 227 h 271"/>
                <a:gd name="T52" fmla="*/ 10 w 202"/>
                <a:gd name="T53" fmla="*/ 208 h 271"/>
                <a:gd name="T54" fmla="*/ 4 w 202"/>
                <a:gd name="T55" fmla="*/ 189 h 271"/>
                <a:gd name="T56" fmla="*/ 7 w 202"/>
                <a:gd name="T57" fmla="*/ 176 h 271"/>
                <a:gd name="T58" fmla="*/ 18 w 202"/>
                <a:gd name="T59" fmla="*/ 171 h 271"/>
                <a:gd name="T60" fmla="*/ 9 w 202"/>
                <a:gd name="T61" fmla="*/ 159 h 271"/>
                <a:gd name="T62" fmla="*/ 22 w 202"/>
                <a:gd name="T63" fmla="*/ 149 h 271"/>
                <a:gd name="T64" fmla="*/ 30 w 202"/>
                <a:gd name="T65" fmla="*/ 142 h 271"/>
                <a:gd name="T66" fmla="*/ 39 w 202"/>
                <a:gd name="T67" fmla="*/ 131 h 271"/>
                <a:gd name="T68" fmla="*/ 48 w 202"/>
                <a:gd name="T69" fmla="*/ 119 h 271"/>
                <a:gd name="T70" fmla="*/ 34 w 202"/>
                <a:gd name="T71" fmla="*/ 101 h 271"/>
                <a:gd name="T72" fmla="*/ 25 w 202"/>
                <a:gd name="T73" fmla="*/ 79 h 271"/>
                <a:gd name="T74" fmla="*/ 25 w 202"/>
                <a:gd name="T75" fmla="*/ 69 h 271"/>
                <a:gd name="T76" fmla="*/ 29 w 202"/>
                <a:gd name="T77" fmla="*/ 61 h 271"/>
                <a:gd name="T78" fmla="*/ 38 w 202"/>
                <a:gd name="T79" fmla="*/ 51 h 271"/>
                <a:gd name="T80" fmla="*/ 50 w 202"/>
                <a:gd name="T81" fmla="*/ 43 h 271"/>
                <a:gd name="T82" fmla="*/ 50 w 202"/>
                <a:gd name="T83" fmla="*/ 26 h 271"/>
                <a:gd name="T84" fmla="*/ 55 w 202"/>
                <a:gd name="T85" fmla="*/ 17 h 271"/>
                <a:gd name="T86" fmla="*/ 72 w 202"/>
                <a:gd name="T87" fmla="*/ 27 h 271"/>
                <a:gd name="T88" fmla="*/ 94 w 202"/>
                <a:gd name="T89" fmla="*/ 24 h 271"/>
                <a:gd name="T90" fmla="*/ 109 w 202"/>
                <a:gd name="T91" fmla="*/ 14 h 271"/>
                <a:gd name="T92" fmla="*/ 131 w 202"/>
                <a:gd name="T93" fmla="*/ 2 h 271"/>
                <a:gd name="T94" fmla="*/ 139 w 202"/>
                <a:gd name="T95" fmla="*/ 16 h 271"/>
                <a:gd name="T96" fmla="*/ 147 w 202"/>
                <a:gd name="T97" fmla="*/ 20 h 271"/>
                <a:gd name="T98" fmla="*/ 157 w 202"/>
                <a:gd name="T99" fmla="*/ 32 h 271"/>
                <a:gd name="T100" fmla="*/ 174 w 202"/>
                <a:gd name="T101" fmla="*/ 35 h 271"/>
                <a:gd name="T102" fmla="*/ 179 w 202"/>
                <a:gd name="T103" fmla="*/ 52 h 271"/>
                <a:gd name="T104" fmla="*/ 187 w 202"/>
                <a:gd name="T105" fmla="*/ 54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2" h="271">
                  <a:moveTo>
                    <a:pt x="193" y="55"/>
                  </a:moveTo>
                  <a:cubicBezTo>
                    <a:pt x="193" y="55"/>
                    <a:pt x="193" y="55"/>
                    <a:pt x="193" y="56"/>
                  </a:cubicBezTo>
                  <a:cubicBezTo>
                    <a:pt x="194" y="58"/>
                    <a:pt x="199" y="80"/>
                    <a:pt x="200" y="84"/>
                  </a:cubicBezTo>
                  <a:cubicBezTo>
                    <a:pt x="201" y="89"/>
                    <a:pt x="202" y="94"/>
                    <a:pt x="200" y="95"/>
                  </a:cubicBezTo>
                  <a:cubicBezTo>
                    <a:pt x="199" y="95"/>
                    <a:pt x="195" y="89"/>
                    <a:pt x="192" y="90"/>
                  </a:cubicBezTo>
                  <a:cubicBezTo>
                    <a:pt x="189" y="92"/>
                    <a:pt x="184" y="91"/>
                    <a:pt x="181" y="88"/>
                  </a:cubicBezTo>
                  <a:cubicBezTo>
                    <a:pt x="178" y="86"/>
                    <a:pt x="175" y="76"/>
                    <a:pt x="171" y="78"/>
                  </a:cubicBezTo>
                  <a:cubicBezTo>
                    <a:pt x="168" y="81"/>
                    <a:pt x="166" y="88"/>
                    <a:pt x="164" y="88"/>
                  </a:cubicBezTo>
                  <a:cubicBezTo>
                    <a:pt x="162" y="88"/>
                    <a:pt x="160" y="90"/>
                    <a:pt x="158" y="93"/>
                  </a:cubicBezTo>
                  <a:cubicBezTo>
                    <a:pt x="156" y="95"/>
                    <a:pt x="158" y="101"/>
                    <a:pt x="155" y="104"/>
                  </a:cubicBezTo>
                  <a:cubicBezTo>
                    <a:pt x="152" y="107"/>
                    <a:pt x="151" y="109"/>
                    <a:pt x="151" y="114"/>
                  </a:cubicBezTo>
                  <a:cubicBezTo>
                    <a:pt x="152" y="118"/>
                    <a:pt x="149" y="119"/>
                    <a:pt x="154" y="124"/>
                  </a:cubicBezTo>
                  <a:cubicBezTo>
                    <a:pt x="160" y="128"/>
                    <a:pt x="159" y="129"/>
                    <a:pt x="160" y="133"/>
                  </a:cubicBezTo>
                  <a:cubicBezTo>
                    <a:pt x="160" y="137"/>
                    <a:pt x="161" y="140"/>
                    <a:pt x="164" y="144"/>
                  </a:cubicBezTo>
                  <a:cubicBezTo>
                    <a:pt x="166" y="149"/>
                    <a:pt x="163" y="151"/>
                    <a:pt x="163" y="155"/>
                  </a:cubicBezTo>
                  <a:cubicBezTo>
                    <a:pt x="162" y="159"/>
                    <a:pt x="164" y="164"/>
                    <a:pt x="167" y="169"/>
                  </a:cubicBezTo>
                  <a:cubicBezTo>
                    <a:pt x="170" y="173"/>
                    <a:pt x="171" y="175"/>
                    <a:pt x="171" y="178"/>
                  </a:cubicBezTo>
                  <a:cubicBezTo>
                    <a:pt x="171" y="182"/>
                    <a:pt x="175" y="184"/>
                    <a:pt x="176" y="184"/>
                  </a:cubicBezTo>
                  <a:cubicBezTo>
                    <a:pt x="178" y="184"/>
                    <a:pt x="181" y="181"/>
                    <a:pt x="182" y="178"/>
                  </a:cubicBezTo>
                  <a:cubicBezTo>
                    <a:pt x="182" y="174"/>
                    <a:pt x="191" y="175"/>
                    <a:pt x="193" y="181"/>
                  </a:cubicBezTo>
                  <a:cubicBezTo>
                    <a:pt x="194" y="186"/>
                    <a:pt x="189" y="186"/>
                    <a:pt x="187" y="189"/>
                  </a:cubicBezTo>
                  <a:cubicBezTo>
                    <a:pt x="186" y="193"/>
                    <a:pt x="191" y="197"/>
                    <a:pt x="187" y="198"/>
                  </a:cubicBezTo>
                  <a:cubicBezTo>
                    <a:pt x="183" y="199"/>
                    <a:pt x="180" y="200"/>
                    <a:pt x="179" y="203"/>
                  </a:cubicBezTo>
                  <a:cubicBezTo>
                    <a:pt x="178" y="206"/>
                    <a:pt x="178" y="209"/>
                    <a:pt x="178" y="213"/>
                  </a:cubicBezTo>
                  <a:cubicBezTo>
                    <a:pt x="177" y="216"/>
                    <a:pt x="173" y="214"/>
                    <a:pt x="172" y="218"/>
                  </a:cubicBezTo>
                  <a:cubicBezTo>
                    <a:pt x="171" y="223"/>
                    <a:pt x="168" y="231"/>
                    <a:pt x="163" y="231"/>
                  </a:cubicBezTo>
                  <a:cubicBezTo>
                    <a:pt x="158" y="230"/>
                    <a:pt x="155" y="228"/>
                    <a:pt x="158" y="224"/>
                  </a:cubicBezTo>
                  <a:cubicBezTo>
                    <a:pt x="161" y="221"/>
                    <a:pt x="165" y="217"/>
                    <a:pt x="161" y="217"/>
                  </a:cubicBezTo>
                  <a:cubicBezTo>
                    <a:pt x="158" y="217"/>
                    <a:pt x="155" y="216"/>
                    <a:pt x="150" y="219"/>
                  </a:cubicBezTo>
                  <a:cubicBezTo>
                    <a:pt x="145" y="222"/>
                    <a:pt x="152" y="227"/>
                    <a:pt x="147" y="227"/>
                  </a:cubicBezTo>
                  <a:cubicBezTo>
                    <a:pt x="142" y="227"/>
                    <a:pt x="133" y="229"/>
                    <a:pt x="130" y="232"/>
                  </a:cubicBezTo>
                  <a:cubicBezTo>
                    <a:pt x="127" y="235"/>
                    <a:pt x="126" y="236"/>
                    <a:pt x="127" y="241"/>
                  </a:cubicBezTo>
                  <a:cubicBezTo>
                    <a:pt x="128" y="246"/>
                    <a:pt x="131" y="245"/>
                    <a:pt x="129" y="247"/>
                  </a:cubicBezTo>
                  <a:cubicBezTo>
                    <a:pt x="127" y="249"/>
                    <a:pt x="136" y="251"/>
                    <a:pt x="130" y="255"/>
                  </a:cubicBezTo>
                  <a:cubicBezTo>
                    <a:pt x="125" y="259"/>
                    <a:pt x="121" y="255"/>
                    <a:pt x="120" y="260"/>
                  </a:cubicBezTo>
                  <a:cubicBezTo>
                    <a:pt x="119" y="265"/>
                    <a:pt x="117" y="266"/>
                    <a:pt x="113" y="269"/>
                  </a:cubicBezTo>
                  <a:cubicBezTo>
                    <a:pt x="111" y="270"/>
                    <a:pt x="110" y="271"/>
                    <a:pt x="108" y="271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89" y="260"/>
                    <a:pt x="89" y="260"/>
                    <a:pt x="89" y="260"/>
                  </a:cubicBezTo>
                  <a:cubicBezTo>
                    <a:pt x="81" y="268"/>
                    <a:pt x="81" y="268"/>
                    <a:pt x="81" y="268"/>
                  </a:cubicBezTo>
                  <a:cubicBezTo>
                    <a:pt x="74" y="266"/>
                    <a:pt x="74" y="266"/>
                    <a:pt x="74" y="26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5" y="253"/>
                    <a:pt x="75" y="253"/>
                    <a:pt x="75" y="253"/>
                  </a:cubicBezTo>
                  <a:cubicBezTo>
                    <a:pt x="80" y="251"/>
                    <a:pt x="80" y="251"/>
                    <a:pt x="80" y="251"/>
                  </a:cubicBezTo>
                  <a:cubicBezTo>
                    <a:pt x="75" y="245"/>
                    <a:pt x="75" y="245"/>
                    <a:pt x="75" y="245"/>
                  </a:cubicBezTo>
                  <a:cubicBezTo>
                    <a:pt x="75" y="240"/>
                    <a:pt x="75" y="240"/>
                    <a:pt x="75" y="240"/>
                  </a:cubicBezTo>
                  <a:cubicBezTo>
                    <a:pt x="59" y="230"/>
                    <a:pt x="59" y="230"/>
                    <a:pt x="59" y="230"/>
                  </a:cubicBezTo>
                  <a:cubicBezTo>
                    <a:pt x="44" y="229"/>
                    <a:pt x="44" y="229"/>
                    <a:pt x="44" y="229"/>
                  </a:cubicBezTo>
                  <a:cubicBezTo>
                    <a:pt x="36" y="238"/>
                    <a:pt x="36" y="238"/>
                    <a:pt x="36" y="238"/>
                  </a:cubicBezTo>
                  <a:cubicBezTo>
                    <a:pt x="32" y="238"/>
                    <a:pt x="32" y="238"/>
                    <a:pt x="32" y="238"/>
                  </a:cubicBezTo>
                  <a:cubicBezTo>
                    <a:pt x="30" y="227"/>
                    <a:pt x="30" y="227"/>
                    <a:pt x="30" y="227"/>
                  </a:cubicBezTo>
                  <a:cubicBezTo>
                    <a:pt x="21" y="220"/>
                    <a:pt x="21" y="220"/>
                    <a:pt x="21" y="220"/>
                  </a:cubicBezTo>
                  <a:cubicBezTo>
                    <a:pt x="10" y="208"/>
                    <a:pt x="10" y="208"/>
                    <a:pt x="10" y="208"/>
                  </a:cubicBezTo>
                  <a:cubicBezTo>
                    <a:pt x="5" y="197"/>
                    <a:pt x="5" y="197"/>
                    <a:pt x="5" y="197"/>
                  </a:cubicBezTo>
                  <a:cubicBezTo>
                    <a:pt x="4" y="189"/>
                    <a:pt x="4" y="189"/>
                    <a:pt x="4" y="189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7" y="176"/>
                    <a:pt x="7" y="176"/>
                    <a:pt x="7" y="176"/>
                  </a:cubicBezTo>
                  <a:cubicBezTo>
                    <a:pt x="15" y="172"/>
                    <a:pt x="15" y="172"/>
                    <a:pt x="15" y="172"/>
                  </a:cubicBezTo>
                  <a:cubicBezTo>
                    <a:pt x="18" y="171"/>
                    <a:pt x="18" y="171"/>
                    <a:pt x="18" y="171"/>
                  </a:cubicBezTo>
                  <a:cubicBezTo>
                    <a:pt x="22" y="165"/>
                    <a:pt x="22" y="165"/>
                    <a:pt x="22" y="165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15" y="154"/>
                    <a:pt x="15" y="154"/>
                    <a:pt x="15" y="154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3" y="141"/>
                    <a:pt x="23" y="141"/>
                    <a:pt x="23" y="141"/>
                  </a:cubicBezTo>
                  <a:cubicBezTo>
                    <a:pt x="30" y="142"/>
                    <a:pt x="30" y="142"/>
                    <a:pt x="30" y="142"/>
                  </a:cubicBezTo>
                  <a:cubicBezTo>
                    <a:pt x="37" y="142"/>
                    <a:pt x="37" y="142"/>
                    <a:pt x="37" y="142"/>
                  </a:cubicBezTo>
                  <a:cubicBezTo>
                    <a:pt x="39" y="131"/>
                    <a:pt x="39" y="131"/>
                    <a:pt x="39" y="131"/>
                  </a:cubicBezTo>
                  <a:cubicBezTo>
                    <a:pt x="42" y="122"/>
                    <a:pt x="42" y="122"/>
                    <a:pt x="42" y="122"/>
                  </a:cubicBezTo>
                  <a:cubicBezTo>
                    <a:pt x="48" y="119"/>
                    <a:pt x="48" y="119"/>
                    <a:pt x="48" y="119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94" y="24"/>
                    <a:pt x="94" y="24"/>
                    <a:pt x="94" y="24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9" y="16"/>
                    <a:pt x="139" y="16"/>
                    <a:pt x="139" y="16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47" y="20"/>
                    <a:pt x="147" y="20"/>
                    <a:pt x="147" y="20"/>
                  </a:cubicBezTo>
                  <a:cubicBezTo>
                    <a:pt x="154" y="27"/>
                    <a:pt x="154" y="27"/>
                    <a:pt x="154" y="27"/>
                  </a:cubicBezTo>
                  <a:cubicBezTo>
                    <a:pt x="157" y="32"/>
                    <a:pt x="157" y="32"/>
                    <a:pt x="157" y="32"/>
                  </a:cubicBezTo>
                  <a:cubicBezTo>
                    <a:pt x="166" y="37"/>
                    <a:pt x="166" y="37"/>
                    <a:pt x="166" y="37"/>
                  </a:cubicBezTo>
                  <a:cubicBezTo>
                    <a:pt x="174" y="35"/>
                    <a:pt x="174" y="35"/>
                    <a:pt x="174" y="35"/>
                  </a:cubicBezTo>
                  <a:cubicBezTo>
                    <a:pt x="177" y="41"/>
                    <a:pt x="177" y="41"/>
                    <a:pt x="177" y="41"/>
                  </a:cubicBezTo>
                  <a:cubicBezTo>
                    <a:pt x="179" y="52"/>
                    <a:pt x="179" y="52"/>
                    <a:pt x="179" y="52"/>
                  </a:cubicBezTo>
                  <a:cubicBezTo>
                    <a:pt x="187" y="50"/>
                    <a:pt x="187" y="50"/>
                    <a:pt x="187" y="50"/>
                  </a:cubicBezTo>
                  <a:cubicBezTo>
                    <a:pt x="187" y="54"/>
                    <a:pt x="187" y="54"/>
                    <a:pt x="187" y="54"/>
                  </a:cubicBezTo>
                  <a:lnTo>
                    <a:pt x="193" y="55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5" name="Freeform 11"/>
            <p:cNvSpPr>
              <a:spLocks/>
            </p:cNvSpPr>
            <p:nvPr/>
          </p:nvSpPr>
          <p:spPr bwMode="auto">
            <a:xfrm>
              <a:off x="4574" y="3326"/>
              <a:ext cx="375" cy="409"/>
            </a:xfrm>
            <a:custGeom>
              <a:avLst/>
              <a:gdLst>
                <a:gd name="T0" fmla="*/ 1 w 180"/>
                <a:gd name="T1" fmla="*/ 5 h 196"/>
                <a:gd name="T2" fmla="*/ 7 w 180"/>
                <a:gd name="T3" fmla="*/ 13 h 196"/>
                <a:gd name="T4" fmla="*/ 15 w 180"/>
                <a:gd name="T5" fmla="*/ 20 h 196"/>
                <a:gd name="T6" fmla="*/ 16 w 180"/>
                <a:gd name="T7" fmla="*/ 27 h 196"/>
                <a:gd name="T8" fmla="*/ 11 w 180"/>
                <a:gd name="T9" fmla="*/ 37 h 196"/>
                <a:gd name="T10" fmla="*/ 22 w 180"/>
                <a:gd name="T11" fmla="*/ 47 h 196"/>
                <a:gd name="T12" fmla="*/ 38 w 180"/>
                <a:gd name="T13" fmla="*/ 68 h 196"/>
                <a:gd name="T14" fmla="*/ 58 w 180"/>
                <a:gd name="T15" fmla="*/ 74 h 196"/>
                <a:gd name="T16" fmla="*/ 66 w 180"/>
                <a:gd name="T17" fmla="*/ 89 h 196"/>
                <a:gd name="T18" fmla="*/ 83 w 180"/>
                <a:gd name="T19" fmla="*/ 104 h 196"/>
                <a:gd name="T20" fmla="*/ 103 w 180"/>
                <a:gd name="T21" fmla="*/ 133 h 196"/>
                <a:gd name="T22" fmla="*/ 116 w 180"/>
                <a:gd name="T23" fmla="*/ 141 h 196"/>
                <a:gd name="T24" fmla="*/ 127 w 180"/>
                <a:gd name="T25" fmla="*/ 156 h 196"/>
                <a:gd name="T26" fmla="*/ 136 w 180"/>
                <a:gd name="T27" fmla="*/ 166 h 196"/>
                <a:gd name="T28" fmla="*/ 143 w 180"/>
                <a:gd name="T29" fmla="*/ 179 h 196"/>
                <a:gd name="T30" fmla="*/ 159 w 180"/>
                <a:gd name="T31" fmla="*/ 193 h 196"/>
                <a:gd name="T32" fmla="*/ 162 w 180"/>
                <a:gd name="T33" fmla="*/ 186 h 196"/>
                <a:gd name="T34" fmla="*/ 155 w 180"/>
                <a:gd name="T35" fmla="*/ 172 h 196"/>
                <a:gd name="T36" fmla="*/ 161 w 180"/>
                <a:gd name="T37" fmla="*/ 167 h 196"/>
                <a:gd name="T38" fmla="*/ 166 w 180"/>
                <a:gd name="T39" fmla="*/ 163 h 196"/>
                <a:gd name="T40" fmla="*/ 178 w 180"/>
                <a:gd name="T41" fmla="*/ 168 h 196"/>
                <a:gd name="T42" fmla="*/ 170 w 180"/>
                <a:gd name="T43" fmla="*/ 156 h 196"/>
                <a:gd name="T44" fmla="*/ 162 w 180"/>
                <a:gd name="T45" fmla="*/ 158 h 196"/>
                <a:gd name="T46" fmla="*/ 153 w 180"/>
                <a:gd name="T47" fmla="*/ 152 h 196"/>
                <a:gd name="T48" fmla="*/ 138 w 180"/>
                <a:gd name="T49" fmla="*/ 150 h 196"/>
                <a:gd name="T50" fmla="*/ 124 w 180"/>
                <a:gd name="T51" fmla="*/ 133 h 196"/>
                <a:gd name="T52" fmla="*/ 114 w 180"/>
                <a:gd name="T53" fmla="*/ 114 h 196"/>
                <a:gd name="T54" fmla="*/ 114 w 180"/>
                <a:gd name="T55" fmla="*/ 100 h 196"/>
                <a:gd name="T56" fmla="*/ 128 w 180"/>
                <a:gd name="T57" fmla="*/ 94 h 196"/>
                <a:gd name="T58" fmla="*/ 137 w 180"/>
                <a:gd name="T59" fmla="*/ 95 h 196"/>
                <a:gd name="T60" fmla="*/ 120 w 180"/>
                <a:gd name="T61" fmla="*/ 88 h 196"/>
                <a:gd name="T62" fmla="*/ 74 w 180"/>
                <a:gd name="T63" fmla="*/ 58 h 196"/>
                <a:gd name="T64" fmla="*/ 61 w 180"/>
                <a:gd name="T65" fmla="*/ 50 h 196"/>
                <a:gd name="T66" fmla="*/ 51 w 180"/>
                <a:gd name="T67" fmla="*/ 42 h 196"/>
                <a:gd name="T68" fmla="*/ 43 w 180"/>
                <a:gd name="T69" fmla="*/ 30 h 196"/>
                <a:gd name="T70" fmla="*/ 25 w 180"/>
                <a:gd name="T71" fmla="*/ 16 h 196"/>
                <a:gd name="T72" fmla="*/ 12 w 180"/>
                <a:gd name="T73" fmla="*/ 7 h 196"/>
                <a:gd name="T74" fmla="*/ 5 w 180"/>
                <a:gd name="T75" fmla="*/ 0 h 196"/>
                <a:gd name="T76" fmla="*/ 1 w 180"/>
                <a:gd name="T77" fmla="*/ 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0" h="196">
                  <a:moveTo>
                    <a:pt x="1" y="5"/>
                  </a:moveTo>
                  <a:cubicBezTo>
                    <a:pt x="0" y="7"/>
                    <a:pt x="3" y="13"/>
                    <a:pt x="7" y="13"/>
                  </a:cubicBezTo>
                  <a:cubicBezTo>
                    <a:pt x="10" y="13"/>
                    <a:pt x="12" y="15"/>
                    <a:pt x="15" y="20"/>
                  </a:cubicBezTo>
                  <a:cubicBezTo>
                    <a:pt x="18" y="24"/>
                    <a:pt x="20" y="27"/>
                    <a:pt x="16" y="27"/>
                  </a:cubicBezTo>
                  <a:cubicBezTo>
                    <a:pt x="12" y="27"/>
                    <a:pt x="9" y="33"/>
                    <a:pt x="11" y="37"/>
                  </a:cubicBezTo>
                  <a:cubicBezTo>
                    <a:pt x="13" y="41"/>
                    <a:pt x="20" y="44"/>
                    <a:pt x="22" y="47"/>
                  </a:cubicBezTo>
                  <a:cubicBezTo>
                    <a:pt x="25" y="50"/>
                    <a:pt x="33" y="64"/>
                    <a:pt x="38" y="68"/>
                  </a:cubicBezTo>
                  <a:cubicBezTo>
                    <a:pt x="42" y="72"/>
                    <a:pt x="51" y="70"/>
                    <a:pt x="58" y="74"/>
                  </a:cubicBezTo>
                  <a:cubicBezTo>
                    <a:pt x="64" y="77"/>
                    <a:pt x="65" y="84"/>
                    <a:pt x="66" y="89"/>
                  </a:cubicBezTo>
                  <a:cubicBezTo>
                    <a:pt x="67" y="95"/>
                    <a:pt x="79" y="99"/>
                    <a:pt x="83" y="104"/>
                  </a:cubicBezTo>
                  <a:cubicBezTo>
                    <a:pt x="87" y="108"/>
                    <a:pt x="101" y="128"/>
                    <a:pt x="103" y="133"/>
                  </a:cubicBezTo>
                  <a:cubicBezTo>
                    <a:pt x="105" y="139"/>
                    <a:pt x="112" y="138"/>
                    <a:pt x="116" y="141"/>
                  </a:cubicBezTo>
                  <a:cubicBezTo>
                    <a:pt x="121" y="143"/>
                    <a:pt x="126" y="153"/>
                    <a:pt x="127" y="156"/>
                  </a:cubicBezTo>
                  <a:cubicBezTo>
                    <a:pt x="128" y="160"/>
                    <a:pt x="132" y="162"/>
                    <a:pt x="136" y="166"/>
                  </a:cubicBezTo>
                  <a:cubicBezTo>
                    <a:pt x="141" y="170"/>
                    <a:pt x="142" y="172"/>
                    <a:pt x="143" y="179"/>
                  </a:cubicBezTo>
                  <a:cubicBezTo>
                    <a:pt x="143" y="187"/>
                    <a:pt x="155" y="190"/>
                    <a:pt x="159" y="193"/>
                  </a:cubicBezTo>
                  <a:cubicBezTo>
                    <a:pt x="162" y="196"/>
                    <a:pt x="165" y="189"/>
                    <a:pt x="162" y="186"/>
                  </a:cubicBezTo>
                  <a:cubicBezTo>
                    <a:pt x="160" y="183"/>
                    <a:pt x="155" y="175"/>
                    <a:pt x="155" y="172"/>
                  </a:cubicBezTo>
                  <a:cubicBezTo>
                    <a:pt x="155" y="168"/>
                    <a:pt x="158" y="167"/>
                    <a:pt x="161" y="167"/>
                  </a:cubicBezTo>
                  <a:cubicBezTo>
                    <a:pt x="163" y="166"/>
                    <a:pt x="161" y="162"/>
                    <a:pt x="166" y="163"/>
                  </a:cubicBezTo>
                  <a:cubicBezTo>
                    <a:pt x="172" y="164"/>
                    <a:pt x="177" y="172"/>
                    <a:pt x="178" y="168"/>
                  </a:cubicBezTo>
                  <a:cubicBezTo>
                    <a:pt x="180" y="164"/>
                    <a:pt x="172" y="159"/>
                    <a:pt x="170" y="156"/>
                  </a:cubicBezTo>
                  <a:cubicBezTo>
                    <a:pt x="167" y="153"/>
                    <a:pt x="165" y="160"/>
                    <a:pt x="162" y="158"/>
                  </a:cubicBezTo>
                  <a:cubicBezTo>
                    <a:pt x="159" y="156"/>
                    <a:pt x="155" y="154"/>
                    <a:pt x="153" y="152"/>
                  </a:cubicBezTo>
                  <a:cubicBezTo>
                    <a:pt x="151" y="150"/>
                    <a:pt x="142" y="153"/>
                    <a:pt x="138" y="150"/>
                  </a:cubicBezTo>
                  <a:cubicBezTo>
                    <a:pt x="134" y="147"/>
                    <a:pt x="128" y="139"/>
                    <a:pt x="124" y="133"/>
                  </a:cubicBezTo>
                  <a:cubicBezTo>
                    <a:pt x="119" y="127"/>
                    <a:pt x="117" y="119"/>
                    <a:pt x="114" y="114"/>
                  </a:cubicBezTo>
                  <a:cubicBezTo>
                    <a:pt x="112" y="109"/>
                    <a:pt x="111" y="103"/>
                    <a:pt x="114" y="100"/>
                  </a:cubicBezTo>
                  <a:cubicBezTo>
                    <a:pt x="117" y="97"/>
                    <a:pt x="121" y="91"/>
                    <a:pt x="128" y="94"/>
                  </a:cubicBezTo>
                  <a:cubicBezTo>
                    <a:pt x="136" y="97"/>
                    <a:pt x="139" y="96"/>
                    <a:pt x="137" y="95"/>
                  </a:cubicBezTo>
                  <a:cubicBezTo>
                    <a:pt x="136" y="93"/>
                    <a:pt x="125" y="91"/>
                    <a:pt x="120" y="88"/>
                  </a:cubicBezTo>
                  <a:cubicBezTo>
                    <a:pt x="116" y="85"/>
                    <a:pt x="78" y="62"/>
                    <a:pt x="74" y="58"/>
                  </a:cubicBezTo>
                  <a:cubicBezTo>
                    <a:pt x="70" y="54"/>
                    <a:pt x="64" y="53"/>
                    <a:pt x="61" y="50"/>
                  </a:cubicBezTo>
                  <a:cubicBezTo>
                    <a:pt x="57" y="47"/>
                    <a:pt x="55" y="48"/>
                    <a:pt x="51" y="42"/>
                  </a:cubicBezTo>
                  <a:cubicBezTo>
                    <a:pt x="47" y="36"/>
                    <a:pt x="46" y="34"/>
                    <a:pt x="43" y="30"/>
                  </a:cubicBezTo>
                  <a:cubicBezTo>
                    <a:pt x="39" y="26"/>
                    <a:pt x="29" y="19"/>
                    <a:pt x="25" y="16"/>
                  </a:cubicBezTo>
                  <a:cubicBezTo>
                    <a:pt x="20" y="13"/>
                    <a:pt x="16" y="12"/>
                    <a:pt x="12" y="7"/>
                  </a:cubicBezTo>
                  <a:cubicBezTo>
                    <a:pt x="8" y="2"/>
                    <a:pt x="8" y="0"/>
                    <a:pt x="5" y="0"/>
                  </a:cubicBezTo>
                  <a:cubicBezTo>
                    <a:pt x="1" y="1"/>
                    <a:pt x="1" y="5"/>
                    <a:pt x="1" y="5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6" name="Freeform 12"/>
            <p:cNvSpPr>
              <a:spLocks/>
            </p:cNvSpPr>
            <p:nvPr/>
          </p:nvSpPr>
          <p:spPr bwMode="auto">
            <a:xfrm>
              <a:off x="4432" y="3782"/>
              <a:ext cx="163" cy="148"/>
            </a:xfrm>
            <a:custGeom>
              <a:avLst/>
              <a:gdLst>
                <a:gd name="T0" fmla="*/ 77 w 78"/>
                <a:gd name="T1" fmla="*/ 27 h 71"/>
                <a:gd name="T2" fmla="*/ 73 w 78"/>
                <a:gd name="T3" fmla="*/ 20 h 71"/>
                <a:gd name="T4" fmla="*/ 65 w 78"/>
                <a:gd name="T5" fmla="*/ 15 h 71"/>
                <a:gd name="T6" fmla="*/ 55 w 78"/>
                <a:gd name="T7" fmla="*/ 29 h 71"/>
                <a:gd name="T8" fmla="*/ 50 w 78"/>
                <a:gd name="T9" fmla="*/ 37 h 71"/>
                <a:gd name="T10" fmla="*/ 45 w 78"/>
                <a:gd name="T11" fmla="*/ 48 h 71"/>
                <a:gd name="T12" fmla="*/ 41 w 78"/>
                <a:gd name="T13" fmla="*/ 57 h 71"/>
                <a:gd name="T14" fmla="*/ 23 w 78"/>
                <a:gd name="T15" fmla="*/ 69 h 71"/>
                <a:gd name="T16" fmla="*/ 12 w 78"/>
                <a:gd name="T17" fmla="*/ 66 h 71"/>
                <a:gd name="T18" fmla="*/ 8 w 78"/>
                <a:gd name="T19" fmla="*/ 59 h 71"/>
                <a:gd name="T20" fmla="*/ 0 w 78"/>
                <a:gd name="T21" fmla="*/ 53 h 71"/>
                <a:gd name="T22" fmla="*/ 0 w 78"/>
                <a:gd name="T23" fmla="*/ 53 h 71"/>
                <a:gd name="T24" fmla="*/ 0 w 78"/>
                <a:gd name="T25" fmla="*/ 46 h 71"/>
                <a:gd name="T26" fmla="*/ 0 w 78"/>
                <a:gd name="T27" fmla="*/ 37 h 71"/>
                <a:gd name="T28" fmla="*/ 3 w 78"/>
                <a:gd name="T29" fmla="*/ 34 h 71"/>
                <a:gd name="T30" fmla="*/ 9 w 78"/>
                <a:gd name="T31" fmla="*/ 33 h 71"/>
                <a:gd name="T32" fmla="*/ 15 w 78"/>
                <a:gd name="T33" fmla="*/ 27 h 71"/>
                <a:gd name="T34" fmla="*/ 15 w 78"/>
                <a:gd name="T35" fmla="*/ 17 h 71"/>
                <a:gd name="T36" fmla="*/ 26 w 78"/>
                <a:gd name="T37" fmla="*/ 18 h 71"/>
                <a:gd name="T38" fmla="*/ 32 w 78"/>
                <a:gd name="T39" fmla="*/ 15 h 71"/>
                <a:gd name="T40" fmla="*/ 41 w 78"/>
                <a:gd name="T41" fmla="*/ 20 h 71"/>
                <a:gd name="T42" fmla="*/ 47 w 78"/>
                <a:gd name="T43" fmla="*/ 16 h 71"/>
                <a:gd name="T44" fmla="*/ 52 w 78"/>
                <a:gd name="T45" fmla="*/ 15 h 71"/>
                <a:gd name="T46" fmla="*/ 57 w 78"/>
                <a:gd name="T47" fmla="*/ 8 h 71"/>
                <a:gd name="T48" fmla="*/ 69 w 78"/>
                <a:gd name="T49" fmla="*/ 6 h 71"/>
                <a:gd name="T50" fmla="*/ 75 w 78"/>
                <a:gd name="T51" fmla="*/ 0 h 71"/>
                <a:gd name="T52" fmla="*/ 78 w 78"/>
                <a:gd name="T53" fmla="*/ 1 h 71"/>
                <a:gd name="T54" fmla="*/ 77 w 78"/>
                <a:gd name="T55" fmla="*/ 2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8" h="71">
                  <a:moveTo>
                    <a:pt x="77" y="27"/>
                  </a:moveTo>
                  <a:cubicBezTo>
                    <a:pt x="74" y="25"/>
                    <a:pt x="73" y="21"/>
                    <a:pt x="73" y="20"/>
                  </a:cubicBezTo>
                  <a:cubicBezTo>
                    <a:pt x="72" y="18"/>
                    <a:pt x="68" y="11"/>
                    <a:pt x="65" y="15"/>
                  </a:cubicBezTo>
                  <a:cubicBezTo>
                    <a:pt x="63" y="19"/>
                    <a:pt x="55" y="24"/>
                    <a:pt x="55" y="29"/>
                  </a:cubicBezTo>
                  <a:cubicBezTo>
                    <a:pt x="55" y="33"/>
                    <a:pt x="53" y="33"/>
                    <a:pt x="50" y="37"/>
                  </a:cubicBezTo>
                  <a:cubicBezTo>
                    <a:pt x="46" y="40"/>
                    <a:pt x="44" y="44"/>
                    <a:pt x="45" y="48"/>
                  </a:cubicBezTo>
                  <a:cubicBezTo>
                    <a:pt x="45" y="51"/>
                    <a:pt x="44" y="54"/>
                    <a:pt x="41" y="57"/>
                  </a:cubicBezTo>
                  <a:cubicBezTo>
                    <a:pt x="37" y="59"/>
                    <a:pt x="26" y="67"/>
                    <a:pt x="23" y="69"/>
                  </a:cubicBezTo>
                  <a:cubicBezTo>
                    <a:pt x="19" y="71"/>
                    <a:pt x="15" y="69"/>
                    <a:pt x="12" y="66"/>
                  </a:cubicBezTo>
                  <a:cubicBezTo>
                    <a:pt x="9" y="63"/>
                    <a:pt x="11" y="59"/>
                    <a:pt x="8" y="59"/>
                  </a:cubicBezTo>
                  <a:cubicBezTo>
                    <a:pt x="4" y="58"/>
                    <a:pt x="1" y="56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37"/>
                    <a:pt x="0" y="37"/>
                  </a:cubicBezTo>
                  <a:cubicBezTo>
                    <a:pt x="0" y="36"/>
                    <a:pt x="3" y="34"/>
                    <a:pt x="3" y="34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8" y="1"/>
                    <a:pt x="78" y="1"/>
                    <a:pt x="78" y="1"/>
                  </a:cubicBezTo>
                  <a:lnTo>
                    <a:pt x="77" y="2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7" name="Freeform 13"/>
            <p:cNvSpPr>
              <a:spLocks/>
            </p:cNvSpPr>
            <p:nvPr/>
          </p:nvSpPr>
          <p:spPr bwMode="auto">
            <a:xfrm>
              <a:off x="3840" y="3505"/>
              <a:ext cx="600" cy="396"/>
            </a:xfrm>
            <a:custGeom>
              <a:avLst/>
              <a:gdLst>
                <a:gd name="T0" fmla="*/ 283 w 288"/>
                <a:gd name="T1" fmla="*/ 184 h 190"/>
                <a:gd name="T2" fmla="*/ 259 w 288"/>
                <a:gd name="T3" fmla="*/ 180 h 190"/>
                <a:gd name="T4" fmla="*/ 235 w 288"/>
                <a:gd name="T5" fmla="*/ 182 h 190"/>
                <a:gd name="T6" fmla="*/ 210 w 288"/>
                <a:gd name="T7" fmla="*/ 181 h 190"/>
                <a:gd name="T8" fmla="*/ 194 w 288"/>
                <a:gd name="T9" fmla="*/ 166 h 190"/>
                <a:gd name="T10" fmla="*/ 166 w 288"/>
                <a:gd name="T11" fmla="*/ 142 h 190"/>
                <a:gd name="T12" fmla="*/ 139 w 288"/>
                <a:gd name="T13" fmla="*/ 124 h 190"/>
                <a:gd name="T14" fmla="*/ 102 w 288"/>
                <a:gd name="T15" fmla="*/ 125 h 190"/>
                <a:gd name="T16" fmla="*/ 76 w 288"/>
                <a:gd name="T17" fmla="*/ 142 h 190"/>
                <a:gd name="T18" fmla="*/ 64 w 288"/>
                <a:gd name="T19" fmla="*/ 131 h 190"/>
                <a:gd name="T20" fmla="*/ 64 w 288"/>
                <a:gd name="T21" fmla="*/ 119 h 190"/>
                <a:gd name="T22" fmla="*/ 54 w 288"/>
                <a:gd name="T23" fmla="*/ 111 h 190"/>
                <a:gd name="T24" fmla="*/ 49 w 288"/>
                <a:gd name="T25" fmla="*/ 92 h 190"/>
                <a:gd name="T26" fmla="*/ 41 w 288"/>
                <a:gd name="T27" fmla="*/ 93 h 190"/>
                <a:gd name="T28" fmla="*/ 35 w 288"/>
                <a:gd name="T29" fmla="*/ 86 h 190"/>
                <a:gd name="T30" fmla="*/ 23 w 288"/>
                <a:gd name="T31" fmla="*/ 89 h 190"/>
                <a:gd name="T32" fmla="*/ 14 w 288"/>
                <a:gd name="T33" fmla="*/ 87 h 190"/>
                <a:gd name="T34" fmla="*/ 16 w 288"/>
                <a:gd name="T35" fmla="*/ 77 h 190"/>
                <a:gd name="T36" fmla="*/ 5 w 288"/>
                <a:gd name="T37" fmla="*/ 76 h 190"/>
                <a:gd name="T38" fmla="*/ 0 w 288"/>
                <a:gd name="T39" fmla="*/ 69 h 190"/>
                <a:gd name="T40" fmla="*/ 19 w 288"/>
                <a:gd name="T41" fmla="*/ 58 h 190"/>
                <a:gd name="T42" fmla="*/ 29 w 288"/>
                <a:gd name="T43" fmla="*/ 59 h 190"/>
                <a:gd name="T44" fmla="*/ 44 w 288"/>
                <a:gd name="T45" fmla="*/ 60 h 190"/>
                <a:gd name="T46" fmla="*/ 60 w 288"/>
                <a:gd name="T47" fmla="*/ 58 h 190"/>
                <a:gd name="T48" fmla="*/ 71 w 288"/>
                <a:gd name="T49" fmla="*/ 54 h 190"/>
                <a:gd name="T50" fmla="*/ 92 w 288"/>
                <a:gd name="T51" fmla="*/ 58 h 190"/>
                <a:gd name="T52" fmla="*/ 99 w 288"/>
                <a:gd name="T53" fmla="*/ 57 h 190"/>
                <a:gd name="T54" fmla="*/ 109 w 288"/>
                <a:gd name="T55" fmla="*/ 57 h 190"/>
                <a:gd name="T56" fmla="*/ 131 w 288"/>
                <a:gd name="T57" fmla="*/ 45 h 190"/>
                <a:gd name="T58" fmla="*/ 137 w 288"/>
                <a:gd name="T59" fmla="*/ 38 h 190"/>
                <a:gd name="T60" fmla="*/ 153 w 288"/>
                <a:gd name="T61" fmla="*/ 33 h 190"/>
                <a:gd name="T62" fmla="*/ 172 w 288"/>
                <a:gd name="T63" fmla="*/ 13 h 190"/>
                <a:gd name="T64" fmla="*/ 184 w 288"/>
                <a:gd name="T65" fmla="*/ 8 h 190"/>
                <a:gd name="T66" fmla="*/ 197 w 288"/>
                <a:gd name="T67" fmla="*/ 1 h 190"/>
                <a:gd name="T68" fmla="*/ 207 w 288"/>
                <a:gd name="T69" fmla="*/ 2 h 190"/>
                <a:gd name="T70" fmla="*/ 201 w 288"/>
                <a:gd name="T71" fmla="*/ 20 h 190"/>
                <a:gd name="T72" fmla="*/ 197 w 288"/>
                <a:gd name="T73" fmla="*/ 35 h 190"/>
                <a:gd name="T74" fmla="*/ 194 w 288"/>
                <a:gd name="T75" fmla="*/ 52 h 190"/>
                <a:gd name="T76" fmla="*/ 207 w 288"/>
                <a:gd name="T77" fmla="*/ 60 h 190"/>
                <a:gd name="T78" fmla="*/ 226 w 288"/>
                <a:gd name="T79" fmla="*/ 70 h 190"/>
                <a:gd name="T80" fmla="*/ 241 w 288"/>
                <a:gd name="T81" fmla="*/ 54 h 190"/>
                <a:gd name="T82" fmla="*/ 248 w 288"/>
                <a:gd name="T83" fmla="*/ 44 h 190"/>
                <a:gd name="T84" fmla="*/ 256 w 288"/>
                <a:gd name="T85" fmla="*/ 37 h 190"/>
                <a:gd name="T86" fmla="*/ 269 w 288"/>
                <a:gd name="T87" fmla="*/ 29 h 190"/>
                <a:gd name="T88" fmla="*/ 280 w 288"/>
                <a:gd name="T89" fmla="*/ 47 h 190"/>
                <a:gd name="T90" fmla="*/ 269 w 288"/>
                <a:gd name="T91" fmla="*/ 60 h 190"/>
                <a:gd name="T92" fmla="*/ 259 w 288"/>
                <a:gd name="T93" fmla="*/ 63 h 190"/>
                <a:gd name="T94" fmla="*/ 267 w 288"/>
                <a:gd name="T95" fmla="*/ 76 h 190"/>
                <a:gd name="T96" fmla="*/ 261 w 288"/>
                <a:gd name="T97" fmla="*/ 91 h 190"/>
                <a:gd name="T98" fmla="*/ 254 w 288"/>
                <a:gd name="T99" fmla="*/ 102 h 190"/>
                <a:gd name="T100" fmla="*/ 251 w 288"/>
                <a:gd name="T101" fmla="*/ 113 h 190"/>
                <a:gd name="T102" fmla="*/ 252 w 288"/>
                <a:gd name="T103" fmla="*/ 133 h 190"/>
                <a:gd name="T104" fmla="*/ 264 w 288"/>
                <a:gd name="T105" fmla="*/ 143 h 190"/>
                <a:gd name="T106" fmla="*/ 274 w 288"/>
                <a:gd name="T107" fmla="*/ 141 h 190"/>
                <a:gd name="T108" fmla="*/ 279 w 288"/>
                <a:gd name="T109" fmla="*/ 151 h 190"/>
                <a:gd name="T110" fmla="*/ 288 w 288"/>
                <a:gd name="T111" fmla="*/ 158 h 190"/>
                <a:gd name="T112" fmla="*/ 284 w 288"/>
                <a:gd name="T113" fmla="*/ 170 h 190"/>
                <a:gd name="T114" fmla="*/ 284 w 288"/>
                <a:gd name="T115" fmla="*/ 18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" h="190">
                  <a:moveTo>
                    <a:pt x="284" y="186"/>
                  </a:moveTo>
                  <a:cubicBezTo>
                    <a:pt x="283" y="185"/>
                    <a:pt x="283" y="185"/>
                    <a:pt x="283" y="184"/>
                  </a:cubicBezTo>
                  <a:cubicBezTo>
                    <a:pt x="282" y="180"/>
                    <a:pt x="278" y="179"/>
                    <a:pt x="277" y="182"/>
                  </a:cubicBezTo>
                  <a:cubicBezTo>
                    <a:pt x="275" y="186"/>
                    <a:pt x="264" y="185"/>
                    <a:pt x="259" y="180"/>
                  </a:cubicBezTo>
                  <a:cubicBezTo>
                    <a:pt x="254" y="175"/>
                    <a:pt x="252" y="178"/>
                    <a:pt x="247" y="182"/>
                  </a:cubicBezTo>
                  <a:cubicBezTo>
                    <a:pt x="242" y="186"/>
                    <a:pt x="239" y="178"/>
                    <a:pt x="235" y="182"/>
                  </a:cubicBezTo>
                  <a:cubicBezTo>
                    <a:pt x="231" y="185"/>
                    <a:pt x="226" y="190"/>
                    <a:pt x="222" y="190"/>
                  </a:cubicBezTo>
                  <a:cubicBezTo>
                    <a:pt x="218" y="189"/>
                    <a:pt x="214" y="188"/>
                    <a:pt x="210" y="181"/>
                  </a:cubicBezTo>
                  <a:cubicBezTo>
                    <a:pt x="207" y="174"/>
                    <a:pt x="205" y="180"/>
                    <a:pt x="204" y="177"/>
                  </a:cubicBezTo>
                  <a:cubicBezTo>
                    <a:pt x="203" y="174"/>
                    <a:pt x="196" y="167"/>
                    <a:pt x="194" y="166"/>
                  </a:cubicBezTo>
                  <a:cubicBezTo>
                    <a:pt x="191" y="165"/>
                    <a:pt x="184" y="158"/>
                    <a:pt x="181" y="155"/>
                  </a:cubicBezTo>
                  <a:cubicBezTo>
                    <a:pt x="179" y="152"/>
                    <a:pt x="167" y="145"/>
                    <a:pt x="166" y="142"/>
                  </a:cubicBezTo>
                  <a:cubicBezTo>
                    <a:pt x="165" y="139"/>
                    <a:pt x="155" y="137"/>
                    <a:pt x="153" y="132"/>
                  </a:cubicBezTo>
                  <a:cubicBezTo>
                    <a:pt x="151" y="127"/>
                    <a:pt x="142" y="126"/>
                    <a:pt x="139" y="124"/>
                  </a:cubicBezTo>
                  <a:cubicBezTo>
                    <a:pt x="136" y="121"/>
                    <a:pt x="124" y="124"/>
                    <a:pt x="119" y="127"/>
                  </a:cubicBezTo>
                  <a:cubicBezTo>
                    <a:pt x="114" y="131"/>
                    <a:pt x="107" y="127"/>
                    <a:pt x="102" y="125"/>
                  </a:cubicBezTo>
                  <a:cubicBezTo>
                    <a:pt x="96" y="124"/>
                    <a:pt x="93" y="131"/>
                    <a:pt x="88" y="134"/>
                  </a:cubicBezTo>
                  <a:cubicBezTo>
                    <a:pt x="84" y="137"/>
                    <a:pt x="80" y="139"/>
                    <a:pt x="76" y="142"/>
                  </a:cubicBezTo>
                  <a:cubicBezTo>
                    <a:pt x="71" y="133"/>
                    <a:pt x="71" y="133"/>
                    <a:pt x="71" y="133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58" y="122"/>
                    <a:pt x="58" y="122"/>
                    <a:pt x="58" y="122"/>
                  </a:cubicBezTo>
                  <a:cubicBezTo>
                    <a:pt x="64" y="119"/>
                    <a:pt x="64" y="119"/>
                    <a:pt x="64" y="119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4" y="111"/>
                    <a:pt x="54" y="111"/>
                    <a:pt x="54" y="111"/>
                  </a:cubicBezTo>
                  <a:cubicBezTo>
                    <a:pt x="54" y="100"/>
                    <a:pt x="54" y="100"/>
                    <a:pt x="54" y="100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103" y="53"/>
                    <a:pt x="103" y="53"/>
                    <a:pt x="103" y="53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7" y="38"/>
                    <a:pt x="137" y="38"/>
                    <a:pt x="137" y="38"/>
                  </a:cubicBezTo>
                  <a:cubicBezTo>
                    <a:pt x="145" y="38"/>
                    <a:pt x="145" y="38"/>
                    <a:pt x="145" y="38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8" y="12"/>
                    <a:pt x="178" y="12"/>
                    <a:pt x="178" y="12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90" y="6"/>
                    <a:pt x="190" y="6"/>
                    <a:pt x="190" y="6"/>
                  </a:cubicBezTo>
                  <a:cubicBezTo>
                    <a:pt x="197" y="1"/>
                    <a:pt x="197" y="1"/>
                    <a:pt x="197" y="1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4" y="16"/>
                    <a:pt x="204" y="16"/>
                    <a:pt x="204" y="16"/>
                  </a:cubicBezTo>
                  <a:cubicBezTo>
                    <a:pt x="201" y="20"/>
                    <a:pt x="201" y="20"/>
                    <a:pt x="201" y="20"/>
                  </a:cubicBezTo>
                  <a:cubicBezTo>
                    <a:pt x="202" y="30"/>
                    <a:pt x="202" y="30"/>
                    <a:pt x="202" y="30"/>
                  </a:cubicBezTo>
                  <a:cubicBezTo>
                    <a:pt x="197" y="35"/>
                    <a:pt x="197" y="35"/>
                    <a:pt x="197" y="35"/>
                  </a:cubicBezTo>
                  <a:cubicBezTo>
                    <a:pt x="201" y="42"/>
                    <a:pt x="201" y="42"/>
                    <a:pt x="201" y="42"/>
                  </a:cubicBezTo>
                  <a:cubicBezTo>
                    <a:pt x="194" y="52"/>
                    <a:pt x="194" y="52"/>
                    <a:pt x="194" y="52"/>
                  </a:cubicBezTo>
                  <a:cubicBezTo>
                    <a:pt x="199" y="58"/>
                    <a:pt x="199" y="58"/>
                    <a:pt x="199" y="58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17" y="55"/>
                    <a:pt x="217" y="55"/>
                    <a:pt x="217" y="55"/>
                  </a:cubicBezTo>
                  <a:cubicBezTo>
                    <a:pt x="226" y="70"/>
                    <a:pt x="226" y="70"/>
                    <a:pt x="226" y="70"/>
                  </a:cubicBezTo>
                  <a:cubicBezTo>
                    <a:pt x="233" y="65"/>
                    <a:pt x="233" y="65"/>
                    <a:pt x="233" y="65"/>
                  </a:cubicBezTo>
                  <a:cubicBezTo>
                    <a:pt x="241" y="54"/>
                    <a:pt x="241" y="54"/>
                    <a:pt x="241" y="54"/>
                  </a:cubicBezTo>
                  <a:cubicBezTo>
                    <a:pt x="247" y="53"/>
                    <a:pt x="247" y="53"/>
                    <a:pt x="247" y="53"/>
                  </a:cubicBezTo>
                  <a:cubicBezTo>
                    <a:pt x="248" y="44"/>
                    <a:pt x="248" y="44"/>
                    <a:pt x="248" y="44"/>
                  </a:cubicBezTo>
                  <a:cubicBezTo>
                    <a:pt x="251" y="38"/>
                    <a:pt x="251" y="38"/>
                    <a:pt x="251" y="38"/>
                  </a:cubicBezTo>
                  <a:cubicBezTo>
                    <a:pt x="256" y="37"/>
                    <a:pt x="256" y="37"/>
                    <a:pt x="256" y="37"/>
                  </a:cubicBezTo>
                  <a:cubicBezTo>
                    <a:pt x="261" y="29"/>
                    <a:pt x="261" y="29"/>
                    <a:pt x="261" y="29"/>
                  </a:cubicBezTo>
                  <a:cubicBezTo>
                    <a:pt x="269" y="29"/>
                    <a:pt x="269" y="29"/>
                    <a:pt x="269" y="29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80" y="47"/>
                    <a:pt x="280" y="47"/>
                    <a:pt x="280" y="47"/>
                  </a:cubicBezTo>
                  <a:cubicBezTo>
                    <a:pt x="279" y="56"/>
                    <a:pt x="279" y="56"/>
                    <a:pt x="279" y="56"/>
                  </a:cubicBezTo>
                  <a:cubicBezTo>
                    <a:pt x="269" y="60"/>
                    <a:pt x="269" y="60"/>
                    <a:pt x="269" y="60"/>
                  </a:cubicBezTo>
                  <a:cubicBezTo>
                    <a:pt x="262" y="59"/>
                    <a:pt x="262" y="59"/>
                    <a:pt x="262" y="59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6"/>
                    <a:pt x="267" y="76"/>
                    <a:pt x="267" y="7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61" y="91"/>
                    <a:pt x="261" y="91"/>
                    <a:pt x="261" y="91"/>
                  </a:cubicBezTo>
                  <a:cubicBezTo>
                    <a:pt x="254" y="96"/>
                    <a:pt x="254" y="96"/>
                    <a:pt x="254" y="96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49" y="107"/>
                    <a:pt x="249" y="107"/>
                    <a:pt x="249" y="107"/>
                  </a:cubicBezTo>
                  <a:cubicBezTo>
                    <a:pt x="251" y="113"/>
                    <a:pt x="251" y="113"/>
                    <a:pt x="251" y="113"/>
                  </a:cubicBezTo>
                  <a:cubicBezTo>
                    <a:pt x="249" y="121"/>
                    <a:pt x="249" y="121"/>
                    <a:pt x="249" y="121"/>
                  </a:cubicBezTo>
                  <a:cubicBezTo>
                    <a:pt x="252" y="133"/>
                    <a:pt x="252" y="133"/>
                    <a:pt x="252" y="133"/>
                  </a:cubicBezTo>
                  <a:cubicBezTo>
                    <a:pt x="260" y="137"/>
                    <a:pt x="260" y="137"/>
                    <a:pt x="260" y="137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9" y="139"/>
                    <a:pt x="269" y="139"/>
                    <a:pt x="269" y="139"/>
                  </a:cubicBezTo>
                  <a:cubicBezTo>
                    <a:pt x="274" y="141"/>
                    <a:pt x="274" y="141"/>
                    <a:pt x="274" y="141"/>
                  </a:cubicBezTo>
                  <a:cubicBezTo>
                    <a:pt x="275" y="146"/>
                    <a:pt x="275" y="146"/>
                    <a:pt x="275" y="146"/>
                  </a:cubicBezTo>
                  <a:cubicBezTo>
                    <a:pt x="279" y="151"/>
                    <a:pt x="279" y="151"/>
                    <a:pt x="279" y="151"/>
                  </a:cubicBezTo>
                  <a:cubicBezTo>
                    <a:pt x="281" y="156"/>
                    <a:pt x="281" y="156"/>
                    <a:pt x="281" y="156"/>
                  </a:cubicBezTo>
                  <a:cubicBezTo>
                    <a:pt x="288" y="158"/>
                    <a:pt x="288" y="158"/>
                    <a:pt x="288" y="158"/>
                  </a:cubicBezTo>
                  <a:cubicBezTo>
                    <a:pt x="287" y="167"/>
                    <a:pt x="287" y="167"/>
                    <a:pt x="287" y="167"/>
                  </a:cubicBezTo>
                  <a:cubicBezTo>
                    <a:pt x="287" y="167"/>
                    <a:pt x="284" y="169"/>
                    <a:pt x="284" y="170"/>
                  </a:cubicBezTo>
                  <a:cubicBezTo>
                    <a:pt x="284" y="170"/>
                    <a:pt x="284" y="179"/>
                    <a:pt x="284" y="179"/>
                  </a:cubicBezTo>
                  <a:lnTo>
                    <a:pt x="284" y="186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8" name="Freeform 14"/>
            <p:cNvSpPr>
              <a:spLocks noEditPoints="1"/>
            </p:cNvSpPr>
            <p:nvPr/>
          </p:nvSpPr>
          <p:spPr bwMode="auto">
            <a:xfrm>
              <a:off x="2125" y="2153"/>
              <a:ext cx="477" cy="690"/>
            </a:xfrm>
            <a:custGeom>
              <a:avLst/>
              <a:gdLst>
                <a:gd name="T0" fmla="*/ 126 w 229"/>
                <a:gd name="T1" fmla="*/ 16 h 331"/>
                <a:gd name="T2" fmla="*/ 140 w 229"/>
                <a:gd name="T3" fmla="*/ 12 h 331"/>
                <a:gd name="T4" fmla="*/ 123 w 229"/>
                <a:gd name="T5" fmla="*/ 3 h 331"/>
                <a:gd name="T6" fmla="*/ 171 w 229"/>
                <a:gd name="T7" fmla="*/ 48 h 331"/>
                <a:gd name="T8" fmla="*/ 173 w 229"/>
                <a:gd name="T9" fmla="*/ 58 h 331"/>
                <a:gd name="T10" fmla="*/ 187 w 229"/>
                <a:gd name="T11" fmla="*/ 52 h 331"/>
                <a:gd name="T12" fmla="*/ 206 w 229"/>
                <a:gd name="T13" fmla="*/ 50 h 331"/>
                <a:gd name="T14" fmla="*/ 227 w 229"/>
                <a:gd name="T15" fmla="*/ 51 h 331"/>
                <a:gd name="T16" fmla="*/ 212 w 229"/>
                <a:gd name="T17" fmla="*/ 46 h 331"/>
                <a:gd name="T18" fmla="*/ 211 w 229"/>
                <a:gd name="T19" fmla="*/ 39 h 331"/>
                <a:gd name="T20" fmla="*/ 201 w 229"/>
                <a:gd name="T21" fmla="*/ 43 h 331"/>
                <a:gd name="T22" fmla="*/ 188 w 229"/>
                <a:gd name="T23" fmla="*/ 50 h 331"/>
                <a:gd name="T24" fmla="*/ 171 w 229"/>
                <a:gd name="T25" fmla="*/ 48 h 331"/>
                <a:gd name="T26" fmla="*/ 171 w 229"/>
                <a:gd name="T27" fmla="*/ 24 h 331"/>
                <a:gd name="T28" fmla="*/ 181 w 229"/>
                <a:gd name="T29" fmla="*/ 22 h 331"/>
                <a:gd name="T30" fmla="*/ 192 w 229"/>
                <a:gd name="T31" fmla="*/ 15 h 331"/>
                <a:gd name="T32" fmla="*/ 194 w 229"/>
                <a:gd name="T33" fmla="*/ 22 h 331"/>
                <a:gd name="T34" fmla="*/ 188 w 229"/>
                <a:gd name="T35" fmla="*/ 35 h 331"/>
                <a:gd name="T36" fmla="*/ 172 w 229"/>
                <a:gd name="T37" fmla="*/ 34 h 331"/>
                <a:gd name="T38" fmla="*/ 125 w 229"/>
                <a:gd name="T39" fmla="*/ 22 h 331"/>
                <a:gd name="T40" fmla="*/ 138 w 229"/>
                <a:gd name="T41" fmla="*/ 21 h 331"/>
                <a:gd name="T42" fmla="*/ 153 w 229"/>
                <a:gd name="T43" fmla="*/ 18 h 331"/>
                <a:gd name="T44" fmla="*/ 143 w 229"/>
                <a:gd name="T45" fmla="*/ 28 h 331"/>
                <a:gd name="T46" fmla="*/ 126 w 229"/>
                <a:gd name="T47" fmla="*/ 31 h 331"/>
                <a:gd name="T48" fmla="*/ 125 w 229"/>
                <a:gd name="T49" fmla="*/ 22 h 331"/>
                <a:gd name="T50" fmla="*/ 21 w 229"/>
                <a:gd name="T51" fmla="*/ 263 h 331"/>
                <a:gd name="T52" fmla="*/ 1 w 229"/>
                <a:gd name="T53" fmla="*/ 272 h 331"/>
                <a:gd name="T54" fmla="*/ 10 w 229"/>
                <a:gd name="T55" fmla="*/ 285 h 331"/>
                <a:gd name="T56" fmla="*/ 3 w 229"/>
                <a:gd name="T57" fmla="*/ 297 h 331"/>
                <a:gd name="T58" fmla="*/ 14 w 229"/>
                <a:gd name="T59" fmla="*/ 290 h 331"/>
                <a:gd name="T60" fmla="*/ 6 w 229"/>
                <a:gd name="T61" fmla="*/ 306 h 331"/>
                <a:gd name="T62" fmla="*/ 21 w 229"/>
                <a:gd name="T63" fmla="*/ 323 h 331"/>
                <a:gd name="T64" fmla="*/ 40 w 229"/>
                <a:gd name="T65" fmla="*/ 323 h 331"/>
                <a:gd name="T66" fmla="*/ 39 w 229"/>
                <a:gd name="T67" fmla="*/ 292 h 331"/>
                <a:gd name="T68" fmla="*/ 55 w 229"/>
                <a:gd name="T69" fmla="*/ 265 h 331"/>
                <a:gd name="T70" fmla="*/ 76 w 229"/>
                <a:gd name="T71" fmla="*/ 253 h 331"/>
                <a:gd name="T72" fmla="*/ 105 w 229"/>
                <a:gd name="T73" fmla="*/ 231 h 331"/>
                <a:gd name="T74" fmla="*/ 134 w 229"/>
                <a:gd name="T75" fmla="*/ 214 h 331"/>
                <a:gd name="T76" fmla="*/ 188 w 229"/>
                <a:gd name="T77" fmla="*/ 204 h 331"/>
                <a:gd name="T78" fmla="*/ 195 w 229"/>
                <a:gd name="T79" fmla="*/ 180 h 331"/>
                <a:gd name="T80" fmla="*/ 158 w 229"/>
                <a:gd name="T81" fmla="*/ 190 h 331"/>
                <a:gd name="T82" fmla="*/ 124 w 229"/>
                <a:gd name="T83" fmla="*/ 188 h 331"/>
                <a:gd name="T84" fmla="*/ 93 w 229"/>
                <a:gd name="T85" fmla="*/ 200 h 331"/>
                <a:gd name="T86" fmla="*/ 79 w 229"/>
                <a:gd name="T87" fmla="*/ 214 h 331"/>
                <a:gd name="T88" fmla="*/ 53 w 229"/>
                <a:gd name="T89" fmla="*/ 227 h 331"/>
                <a:gd name="T90" fmla="*/ 48 w 229"/>
                <a:gd name="T91" fmla="*/ 242 h 331"/>
                <a:gd name="T92" fmla="*/ 30 w 229"/>
                <a:gd name="T93" fmla="*/ 24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9" h="331">
                  <a:moveTo>
                    <a:pt x="123" y="10"/>
                  </a:moveTo>
                  <a:cubicBezTo>
                    <a:pt x="124" y="12"/>
                    <a:pt x="122" y="18"/>
                    <a:pt x="126" y="16"/>
                  </a:cubicBezTo>
                  <a:cubicBezTo>
                    <a:pt x="130" y="15"/>
                    <a:pt x="134" y="12"/>
                    <a:pt x="135" y="14"/>
                  </a:cubicBezTo>
                  <a:cubicBezTo>
                    <a:pt x="136" y="16"/>
                    <a:pt x="143" y="16"/>
                    <a:pt x="140" y="12"/>
                  </a:cubicBezTo>
                  <a:cubicBezTo>
                    <a:pt x="138" y="8"/>
                    <a:pt x="132" y="7"/>
                    <a:pt x="129" y="7"/>
                  </a:cubicBezTo>
                  <a:cubicBezTo>
                    <a:pt x="127" y="7"/>
                    <a:pt x="124" y="0"/>
                    <a:pt x="123" y="3"/>
                  </a:cubicBezTo>
                  <a:cubicBezTo>
                    <a:pt x="122" y="6"/>
                    <a:pt x="123" y="10"/>
                    <a:pt x="123" y="10"/>
                  </a:cubicBezTo>
                  <a:close/>
                  <a:moveTo>
                    <a:pt x="171" y="48"/>
                  </a:moveTo>
                  <a:cubicBezTo>
                    <a:pt x="169" y="48"/>
                    <a:pt x="164" y="51"/>
                    <a:pt x="166" y="55"/>
                  </a:cubicBezTo>
                  <a:cubicBezTo>
                    <a:pt x="167" y="58"/>
                    <a:pt x="170" y="59"/>
                    <a:pt x="173" y="58"/>
                  </a:cubicBezTo>
                  <a:cubicBezTo>
                    <a:pt x="176" y="57"/>
                    <a:pt x="179" y="60"/>
                    <a:pt x="180" y="58"/>
                  </a:cubicBezTo>
                  <a:cubicBezTo>
                    <a:pt x="182" y="55"/>
                    <a:pt x="185" y="49"/>
                    <a:pt x="187" y="52"/>
                  </a:cubicBezTo>
                  <a:cubicBezTo>
                    <a:pt x="189" y="54"/>
                    <a:pt x="195" y="58"/>
                    <a:pt x="197" y="58"/>
                  </a:cubicBezTo>
                  <a:cubicBezTo>
                    <a:pt x="200" y="58"/>
                    <a:pt x="202" y="51"/>
                    <a:pt x="206" y="50"/>
                  </a:cubicBezTo>
                  <a:cubicBezTo>
                    <a:pt x="210" y="49"/>
                    <a:pt x="211" y="55"/>
                    <a:pt x="214" y="56"/>
                  </a:cubicBezTo>
                  <a:cubicBezTo>
                    <a:pt x="217" y="57"/>
                    <a:pt x="225" y="58"/>
                    <a:pt x="227" y="51"/>
                  </a:cubicBezTo>
                  <a:cubicBezTo>
                    <a:pt x="229" y="45"/>
                    <a:pt x="228" y="39"/>
                    <a:pt x="225" y="41"/>
                  </a:cubicBezTo>
                  <a:cubicBezTo>
                    <a:pt x="221" y="42"/>
                    <a:pt x="214" y="46"/>
                    <a:pt x="212" y="46"/>
                  </a:cubicBezTo>
                  <a:cubicBezTo>
                    <a:pt x="210" y="46"/>
                    <a:pt x="207" y="48"/>
                    <a:pt x="206" y="45"/>
                  </a:cubicBezTo>
                  <a:cubicBezTo>
                    <a:pt x="205" y="43"/>
                    <a:pt x="212" y="43"/>
                    <a:pt x="211" y="39"/>
                  </a:cubicBezTo>
                  <a:cubicBezTo>
                    <a:pt x="210" y="35"/>
                    <a:pt x="201" y="35"/>
                    <a:pt x="200" y="37"/>
                  </a:cubicBezTo>
                  <a:cubicBezTo>
                    <a:pt x="200" y="40"/>
                    <a:pt x="204" y="42"/>
                    <a:pt x="201" y="43"/>
                  </a:cubicBezTo>
                  <a:cubicBezTo>
                    <a:pt x="198" y="44"/>
                    <a:pt x="199" y="42"/>
                    <a:pt x="195" y="43"/>
                  </a:cubicBezTo>
                  <a:cubicBezTo>
                    <a:pt x="190" y="44"/>
                    <a:pt x="191" y="49"/>
                    <a:pt x="188" y="50"/>
                  </a:cubicBezTo>
                  <a:cubicBezTo>
                    <a:pt x="186" y="50"/>
                    <a:pt x="182" y="49"/>
                    <a:pt x="180" y="49"/>
                  </a:cubicBezTo>
                  <a:cubicBezTo>
                    <a:pt x="178" y="49"/>
                    <a:pt x="171" y="48"/>
                    <a:pt x="171" y="48"/>
                  </a:cubicBezTo>
                  <a:close/>
                  <a:moveTo>
                    <a:pt x="168" y="28"/>
                  </a:moveTo>
                  <a:cubicBezTo>
                    <a:pt x="168" y="28"/>
                    <a:pt x="172" y="27"/>
                    <a:pt x="171" y="24"/>
                  </a:cubicBezTo>
                  <a:cubicBezTo>
                    <a:pt x="170" y="21"/>
                    <a:pt x="176" y="21"/>
                    <a:pt x="176" y="21"/>
                  </a:cubicBezTo>
                  <a:cubicBezTo>
                    <a:pt x="176" y="21"/>
                    <a:pt x="177" y="23"/>
                    <a:pt x="181" y="22"/>
                  </a:cubicBezTo>
                  <a:cubicBezTo>
                    <a:pt x="184" y="20"/>
                    <a:pt x="181" y="18"/>
                    <a:pt x="183" y="18"/>
                  </a:cubicBezTo>
                  <a:cubicBezTo>
                    <a:pt x="185" y="18"/>
                    <a:pt x="191" y="17"/>
                    <a:pt x="192" y="15"/>
                  </a:cubicBezTo>
                  <a:cubicBezTo>
                    <a:pt x="193" y="12"/>
                    <a:pt x="196" y="13"/>
                    <a:pt x="199" y="18"/>
                  </a:cubicBezTo>
                  <a:cubicBezTo>
                    <a:pt x="201" y="23"/>
                    <a:pt x="196" y="23"/>
                    <a:pt x="194" y="22"/>
                  </a:cubicBezTo>
                  <a:cubicBezTo>
                    <a:pt x="192" y="21"/>
                    <a:pt x="191" y="24"/>
                    <a:pt x="189" y="27"/>
                  </a:cubicBezTo>
                  <a:cubicBezTo>
                    <a:pt x="187" y="30"/>
                    <a:pt x="189" y="31"/>
                    <a:pt x="188" y="35"/>
                  </a:cubicBezTo>
                  <a:cubicBezTo>
                    <a:pt x="186" y="38"/>
                    <a:pt x="182" y="41"/>
                    <a:pt x="178" y="41"/>
                  </a:cubicBezTo>
                  <a:cubicBezTo>
                    <a:pt x="175" y="41"/>
                    <a:pt x="174" y="38"/>
                    <a:pt x="172" y="34"/>
                  </a:cubicBezTo>
                  <a:cubicBezTo>
                    <a:pt x="171" y="30"/>
                    <a:pt x="165" y="29"/>
                    <a:pt x="168" y="28"/>
                  </a:cubicBezTo>
                  <a:close/>
                  <a:moveTo>
                    <a:pt x="125" y="22"/>
                  </a:moveTo>
                  <a:cubicBezTo>
                    <a:pt x="126" y="23"/>
                    <a:pt x="130" y="22"/>
                    <a:pt x="130" y="20"/>
                  </a:cubicBezTo>
                  <a:cubicBezTo>
                    <a:pt x="131" y="17"/>
                    <a:pt x="136" y="19"/>
                    <a:pt x="138" y="21"/>
                  </a:cubicBezTo>
                  <a:cubicBezTo>
                    <a:pt x="140" y="23"/>
                    <a:pt x="144" y="20"/>
                    <a:pt x="145" y="16"/>
                  </a:cubicBezTo>
                  <a:cubicBezTo>
                    <a:pt x="146" y="12"/>
                    <a:pt x="154" y="16"/>
                    <a:pt x="153" y="18"/>
                  </a:cubicBezTo>
                  <a:cubicBezTo>
                    <a:pt x="152" y="21"/>
                    <a:pt x="154" y="22"/>
                    <a:pt x="154" y="24"/>
                  </a:cubicBezTo>
                  <a:cubicBezTo>
                    <a:pt x="153" y="25"/>
                    <a:pt x="146" y="28"/>
                    <a:pt x="143" y="28"/>
                  </a:cubicBezTo>
                  <a:cubicBezTo>
                    <a:pt x="140" y="28"/>
                    <a:pt x="138" y="31"/>
                    <a:pt x="135" y="32"/>
                  </a:cubicBezTo>
                  <a:cubicBezTo>
                    <a:pt x="132" y="34"/>
                    <a:pt x="128" y="34"/>
                    <a:pt x="126" y="31"/>
                  </a:cubicBezTo>
                  <a:cubicBezTo>
                    <a:pt x="123" y="28"/>
                    <a:pt x="120" y="28"/>
                    <a:pt x="121" y="25"/>
                  </a:cubicBezTo>
                  <a:cubicBezTo>
                    <a:pt x="122" y="22"/>
                    <a:pt x="125" y="22"/>
                    <a:pt x="125" y="22"/>
                  </a:cubicBezTo>
                  <a:close/>
                  <a:moveTo>
                    <a:pt x="27" y="254"/>
                  </a:moveTo>
                  <a:cubicBezTo>
                    <a:pt x="24" y="257"/>
                    <a:pt x="25" y="261"/>
                    <a:pt x="21" y="263"/>
                  </a:cubicBezTo>
                  <a:cubicBezTo>
                    <a:pt x="16" y="265"/>
                    <a:pt x="16" y="265"/>
                    <a:pt x="11" y="263"/>
                  </a:cubicBezTo>
                  <a:cubicBezTo>
                    <a:pt x="7" y="261"/>
                    <a:pt x="3" y="269"/>
                    <a:pt x="1" y="272"/>
                  </a:cubicBezTo>
                  <a:cubicBezTo>
                    <a:pt x="0" y="276"/>
                    <a:pt x="1" y="281"/>
                    <a:pt x="3" y="281"/>
                  </a:cubicBezTo>
                  <a:cubicBezTo>
                    <a:pt x="6" y="281"/>
                    <a:pt x="10" y="284"/>
                    <a:pt x="10" y="285"/>
                  </a:cubicBezTo>
                  <a:cubicBezTo>
                    <a:pt x="11" y="286"/>
                    <a:pt x="7" y="282"/>
                    <a:pt x="4" y="286"/>
                  </a:cubicBezTo>
                  <a:cubicBezTo>
                    <a:pt x="1" y="291"/>
                    <a:pt x="2" y="296"/>
                    <a:pt x="3" y="297"/>
                  </a:cubicBezTo>
                  <a:cubicBezTo>
                    <a:pt x="4" y="299"/>
                    <a:pt x="10" y="293"/>
                    <a:pt x="11" y="290"/>
                  </a:cubicBezTo>
                  <a:cubicBezTo>
                    <a:pt x="11" y="287"/>
                    <a:pt x="13" y="287"/>
                    <a:pt x="14" y="290"/>
                  </a:cubicBezTo>
                  <a:cubicBezTo>
                    <a:pt x="14" y="293"/>
                    <a:pt x="15" y="299"/>
                    <a:pt x="12" y="301"/>
                  </a:cubicBezTo>
                  <a:cubicBezTo>
                    <a:pt x="9" y="302"/>
                    <a:pt x="6" y="304"/>
                    <a:pt x="6" y="306"/>
                  </a:cubicBezTo>
                  <a:cubicBezTo>
                    <a:pt x="7" y="309"/>
                    <a:pt x="10" y="314"/>
                    <a:pt x="11" y="315"/>
                  </a:cubicBezTo>
                  <a:cubicBezTo>
                    <a:pt x="13" y="316"/>
                    <a:pt x="18" y="320"/>
                    <a:pt x="21" y="323"/>
                  </a:cubicBezTo>
                  <a:cubicBezTo>
                    <a:pt x="25" y="326"/>
                    <a:pt x="31" y="328"/>
                    <a:pt x="33" y="330"/>
                  </a:cubicBezTo>
                  <a:cubicBezTo>
                    <a:pt x="36" y="331"/>
                    <a:pt x="44" y="329"/>
                    <a:pt x="40" y="323"/>
                  </a:cubicBezTo>
                  <a:cubicBezTo>
                    <a:pt x="36" y="318"/>
                    <a:pt x="36" y="310"/>
                    <a:pt x="37" y="306"/>
                  </a:cubicBezTo>
                  <a:cubicBezTo>
                    <a:pt x="37" y="303"/>
                    <a:pt x="38" y="298"/>
                    <a:pt x="39" y="292"/>
                  </a:cubicBezTo>
                  <a:cubicBezTo>
                    <a:pt x="39" y="287"/>
                    <a:pt x="39" y="282"/>
                    <a:pt x="43" y="277"/>
                  </a:cubicBezTo>
                  <a:cubicBezTo>
                    <a:pt x="47" y="273"/>
                    <a:pt x="50" y="269"/>
                    <a:pt x="55" y="265"/>
                  </a:cubicBezTo>
                  <a:cubicBezTo>
                    <a:pt x="59" y="260"/>
                    <a:pt x="63" y="259"/>
                    <a:pt x="65" y="256"/>
                  </a:cubicBezTo>
                  <a:cubicBezTo>
                    <a:pt x="67" y="254"/>
                    <a:pt x="74" y="255"/>
                    <a:pt x="76" y="253"/>
                  </a:cubicBezTo>
                  <a:cubicBezTo>
                    <a:pt x="77" y="251"/>
                    <a:pt x="90" y="241"/>
                    <a:pt x="93" y="239"/>
                  </a:cubicBezTo>
                  <a:cubicBezTo>
                    <a:pt x="96" y="237"/>
                    <a:pt x="103" y="232"/>
                    <a:pt x="105" y="231"/>
                  </a:cubicBezTo>
                  <a:cubicBezTo>
                    <a:pt x="108" y="230"/>
                    <a:pt x="117" y="227"/>
                    <a:pt x="120" y="224"/>
                  </a:cubicBezTo>
                  <a:cubicBezTo>
                    <a:pt x="123" y="222"/>
                    <a:pt x="121" y="217"/>
                    <a:pt x="134" y="214"/>
                  </a:cubicBezTo>
                  <a:cubicBezTo>
                    <a:pt x="147" y="210"/>
                    <a:pt x="155" y="210"/>
                    <a:pt x="163" y="211"/>
                  </a:cubicBezTo>
                  <a:cubicBezTo>
                    <a:pt x="171" y="211"/>
                    <a:pt x="185" y="204"/>
                    <a:pt x="188" y="204"/>
                  </a:cubicBezTo>
                  <a:cubicBezTo>
                    <a:pt x="191" y="204"/>
                    <a:pt x="199" y="201"/>
                    <a:pt x="201" y="195"/>
                  </a:cubicBezTo>
                  <a:cubicBezTo>
                    <a:pt x="203" y="188"/>
                    <a:pt x="203" y="179"/>
                    <a:pt x="195" y="180"/>
                  </a:cubicBezTo>
                  <a:cubicBezTo>
                    <a:pt x="187" y="181"/>
                    <a:pt x="185" y="184"/>
                    <a:pt x="176" y="188"/>
                  </a:cubicBezTo>
                  <a:cubicBezTo>
                    <a:pt x="168" y="192"/>
                    <a:pt x="162" y="193"/>
                    <a:pt x="158" y="190"/>
                  </a:cubicBezTo>
                  <a:cubicBezTo>
                    <a:pt x="153" y="187"/>
                    <a:pt x="146" y="179"/>
                    <a:pt x="141" y="183"/>
                  </a:cubicBezTo>
                  <a:cubicBezTo>
                    <a:pt x="135" y="187"/>
                    <a:pt x="132" y="188"/>
                    <a:pt x="124" y="188"/>
                  </a:cubicBezTo>
                  <a:cubicBezTo>
                    <a:pt x="116" y="188"/>
                    <a:pt x="107" y="191"/>
                    <a:pt x="102" y="195"/>
                  </a:cubicBezTo>
                  <a:cubicBezTo>
                    <a:pt x="98" y="199"/>
                    <a:pt x="96" y="202"/>
                    <a:pt x="93" y="200"/>
                  </a:cubicBezTo>
                  <a:cubicBezTo>
                    <a:pt x="90" y="198"/>
                    <a:pt x="89" y="202"/>
                    <a:pt x="88" y="207"/>
                  </a:cubicBezTo>
                  <a:cubicBezTo>
                    <a:pt x="87" y="213"/>
                    <a:pt x="84" y="212"/>
                    <a:pt x="79" y="214"/>
                  </a:cubicBezTo>
                  <a:cubicBezTo>
                    <a:pt x="74" y="217"/>
                    <a:pt x="73" y="221"/>
                    <a:pt x="67" y="223"/>
                  </a:cubicBezTo>
                  <a:cubicBezTo>
                    <a:pt x="62" y="225"/>
                    <a:pt x="55" y="224"/>
                    <a:pt x="53" y="227"/>
                  </a:cubicBezTo>
                  <a:cubicBezTo>
                    <a:pt x="52" y="231"/>
                    <a:pt x="56" y="234"/>
                    <a:pt x="53" y="236"/>
                  </a:cubicBezTo>
                  <a:cubicBezTo>
                    <a:pt x="49" y="238"/>
                    <a:pt x="56" y="241"/>
                    <a:pt x="48" y="242"/>
                  </a:cubicBezTo>
                  <a:cubicBezTo>
                    <a:pt x="40" y="242"/>
                    <a:pt x="37" y="243"/>
                    <a:pt x="36" y="244"/>
                  </a:cubicBezTo>
                  <a:cubicBezTo>
                    <a:pt x="35" y="246"/>
                    <a:pt x="32" y="246"/>
                    <a:pt x="30" y="247"/>
                  </a:cubicBezTo>
                  <a:cubicBezTo>
                    <a:pt x="28" y="249"/>
                    <a:pt x="27" y="254"/>
                    <a:pt x="27" y="254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9" name="Freeform 15"/>
            <p:cNvSpPr>
              <a:spLocks/>
            </p:cNvSpPr>
            <p:nvPr/>
          </p:nvSpPr>
          <p:spPr bwMode="auto">
            <a:xfrm>
              <a:off x="1460" y="2832"/>
              <a:ext cx="432" cy="421"/>
            </a:xfrm>
            <a:custGeom>
              <a:avLst/>
              <a:gdLst>
                <a:gd name="T0" fmla="*/ 50 w 207"/>
                <a:gd name="T1" fmla="*/ 36 h 202"/>
                <a:gd name="T2" fmla="*/ 66 w 207"/>
                <a:gd name="T3" fmla="*/ 31 h 202"/>
                <a:gd name="T4" fmla="*/ 62 w 207"/>
                <a:gd name="T5" fmla="*/ 9 h 202"/>
                <a:gd name="T6" fmla="*/ 77 w 207"/>
                <a:gd name="T7" fmla="*/ 8 h 202"/>
                <a:gd name="T8" fmla="*/ 84 w 207"/>
                <a:gd name="T9" fmla="*/ 34 h 202"/>
                <a:gd name="T10" fmla="*/ 100 w 207"/>
                <a:gd name="T11" fmla="*/ 43 h 202"/>
                <a:gd name="T12" fmla="*/ 109 w 207"/>
                <a:gd name="T13" fmla="*/ 20 h 202"/>
                <a:gd name="T14" fmla="*/ 138 w 207"/>
                <a:gd name="T15" fmla="*/ 20 h 202"/>
                <a:gd name="T16" fmla="*/ 158 w 207"/>
                <a:gd name="T17" fmla="*/ 30 h 202"/>
                <a:gd name="T18" fmla="*/ 166 w 207"/>
                <a:gd name="T19" fmla="*/ 34 h 202"/>
                <a:gd name="T20" fmla="*/ 172 w 207"/>
                <a:gd name="T21" fmla="*/ 54 h 202"/>
                <a:gd name="T22" fmla="*/ 182 w 207"/>
                <a:gd name="T23" fmla="*/ 69 h 202"/>
                <a:gd name="T24" fmla="*/ 196 w 207"/>
                <a:gd name="T25" fmla="*/ 76 h 202"/>
                <a:gd name="T26" fmla="*/ 207 w 207"/>
                <a:gd name="T27" fmla="*/ 77 h 202"/>
                <a:gd name="T28" fmla="*/ 195 w 207"/>
                <a:gd name="T29" fmla="*/ 96 h 202"/>
                <a:gd name="T30" fmla="*/ 198 w 207"/>
                <a:gd name="T31" fmla="*/ 112 h 202"/>
                <a:gd name="T32" fmla="*/ 195 w 207"/>
                <a:gd name="T33" fmla="*/ 127 h 202"/>
                <a:gd name="T34" fmla="*/ 171 w 207"/>
                <a:gd name="T35" fmla="*/ 123 h 202"/>
                <a:gd name="T36" fmla="*/ 157 w 207"/>
                <a:gd name="T37" fmla="*/ 109 h 202"/>
                <a:gd name="T38" fmla="*/ 141 w 207"/>
                <a:gd name="T39" fmla="*/ 100 h 202"/>
                <a:gd name="T40" fmla="*/ 139 w 207"/>
                <a:gd name="T41" fmla="*/ 110 h 202"/>
                <a:gd name="T42" fmla="*/ 144 w 207"/>
                <a:gd name="T43" fmla="*/ 126 h 202"/>
                <a:gd name="T44" fmla="*/ 138 w 207"/>
                <a:gd name="T45" fmla="*/ 134 h 202"/>
                <a:gd name="T46" fmla="*/ 141 w 207"/>
                <a:gd name="T47" fmla="*/ 144 h 202"/>
                <a:gd name="T48" fmla="*/ 129 w 207"/>
                <a:gd name="T49" fmla="*/ 152 h 202"/>
                <a:gd name="T50" fmla="*/ 126 w 207"/>
                <a:gd name="T51" fmla="*/ 163 h 202"/>
                <a:gd name="T52" fmla="*/ 140 w 207"/>
                <a:gd name="T53" fmla="*/ 161 h 202"/>
                <a:gd name="T54" fmla="*/ 154 w 207"/>
                <a:gd name="T55" fmla="*/ 159 h 202"/>
                <a:gd name="T56" fmla="*/ 135 w 207"/>
                <a:gd name="T57" fmla="*/ 187 h 202"/>
                <a:gd name="T58" fmla="*/ 129 w 207"/>
                <a:gd name="T59" fmla="*/ 202 h 202"/>
                <a:gd name="T60" fmla="*/ 113 w 207"/>
                <a:gd name="T61" fmla="*/ 202 h 202"/>
                <a:gd name="T62" fmla="*/ 112 w 207"/>
                <a:gd name="T63" fmla="*/ 196 h 202"/>
                <a:gd name="T64" fmla="*/ 98 w 207"/>
                <a:gd name="T65" fmla="*/ 193 h 202"/>
                <a:gd name="T66" fmla="*/ 95 w 207"/>
                <a:gd name="T67" fmla="*/ 184 h 202"/>
                <a:gd name="T68" fmla="*/ 88 w 207"/>
                <a:gd name="T69" fmla="*/ 175 h 202"/>
                <a:gd name="T70" fmla="*/ 78 w 207"/>
                <a:gd name="T71" fmla="*/ 176 h 202"/>
                <a:gd name="T72" fmla="*/ 68 w 207"/>
                <a:gd name="T73" fmla="*/ 163 h 202"/>
                <a:gd name="T74" fmla="*/ 54 w 207"/>
                <a:gd name="T75" fmla="*/ 165 h 202"/>
                <a:gd name="T76" fmla="*/ 44 w 207"/>
                <a:gd name="T77" fmla="*/ 150 h 202"/>
                <a:gd name="T78" fmla="*/ 35 w 207"/>
                <a:gd name="T79" fmla="*/ 143 h 202"/>
                <a:gd name="T80" fmla="*/ 22 w 207"/>
                <a:gd name="T81" fmla="*/ 137 h 202"/>
                <a:gd name="T82" fmla="*/ 10 w 207"/>
                <a:gd name="T83" fmla="*/ 129 h 202"/>
                <a:gd name="T84" fmla="*/ 5 w 207"/>
                <a:gd name="T85" fmla="*/ 122 h 202"/>
                <a:gd name="T86" fmla="*/ 0 w 207"/>
                <a:gd name="T87" fmla="*/ 110 h 202"/>
                <a:gd name="T88" fmla="*/ 8 w 207"/>
                <a:gd name="T89" fmla="*/ 95 h 202"/>
                <a:gd name="T90" fmla="*/ 19 w 207"/>
                <a:gd name="T91" fmla="*/ 83 h 202"/>
                <a:gd name="T92" fmla="*/ 25 w 207"/>
                <a:gd name="T93" fmla="*/ 70 h 202"/>
                <a:gd name="T94" fmla="*/ 22 w 207"/>
                <a:gd name="T95" fmla="*/ 60 h 202"/>
                <a:gd name="T96" fmla="*/ 30 w 207"/>
                <a:gd name="T97" fmla="*/ 43 h 202"/>
                <a:gd name="T98" fmla="*/ 38 w 207"/>
                <a:gd name="T99" fmla="*/ 37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7" h="202">
                  <a:moveTo>
                    <a:pt x="46" y="29"/>
                  </a:moveTo>
                  <a:cubicBezTo>
                    <a:pt x="47" y="32"/>
                    <a:pt x="49" y="34"/>
                    <a:pt x="50" y="36"/>
                  </a:cubicBezTo>
                  <a:cubicBezTo>
                    <a:pt x="52" y="41"/>
                    <a:pt x="55" y="42"/>
                    <a:pt x="59" y="40"/>
                  </a:cubicBezTo>
                  <a:cubicBezTo>
                    <a:pt x="64" y="39"/>
                    <a:pt x="68" y="34"/>
                    <a:pt x="66" y="31"/>
                  </a:cubicBezTo>
                  <a:cubicBezTo>
                    <a:pt x="64" y="28"/>
                    <a:pt x="59" y="29"/>
                    <a:pt x="60" y="22"/>
                  </a:cubicBezTo>
                  <a:cubicBezTo>
                    <a:pt x="62" y="16"/>
                    <a:pt x="62" y="11"/>
                    <a:pt x="62" y="9"/>
                  </a:cubicBezTo>
                  <a:cubicBezTo>
                    <a:pt x="61" y="8"/>
                    <a:pt x="66" y="5"/>
                    <a:pt x="69" y="7"/>
                  </a:cubicBezTo>
                  <a:cubicBezTo>
                    <a:pt x="73" y="8"/>
                    <a:pt x="75" y="0"/>
                    <a:pt x="77" y="8"/>
                  </a:cubicBezTo>
                  <a:cubicBezTo>
                    <a:pt x="79" y="15"/>
                    <a:pt x="78" y="21"/>
                    <a:pt x="79" y="24"/>
                  </a:cubicBezTo>
                  <a:cubicBezTo>
                    <a:pt x="80" y="27"/>
                    <a:pt x="84" y="30"/>
                    <a:pt x="84" y="34"/>
                  </a:cubicBezTo>
                  <a:cubicBezTo>
                    <a:pt x="85" y="39"/>
                    <a:pt x="89" y="44"/>
                    <a:pt x="90" y="44"/>
                  </a:cubicBezTo>
                  <a:cubicBezTo>
                    <a:pt x="91" y="45"/>
                    <a:pt x="99" y="50"/>
                    <a:pt x="100" y="43"/>
                  </a:cubicBezTo>
                  <a:cubicBezTo>
                    <a:pt x="102" y="37"/>
                    <a:pt x="101" y="32"/>
                    <a:pt x="104" y="27"/>
                  </a:cubicBezTo>
                  <a:cubicBezTo>
                    <a:pt x="106" y="21"/>
                    <a:pt x="104" y="20"/>
                    <a:pt x="109" y="20"/>
                  </a:cubicBezTo>
                  <a:cubicBezTo>
                    <a:pt x="115" y="20"/>
                    <a:pt x="123" y="20"/>
                    <a:pt x="127" y="20"/>
                  </a:cubicBezTo>
                  <a:cubicBezTo>
                    <a:pt x="131" y="21"/>
                    <a:pt x="136" y="22"/>
                    <a:pt x="138" y="20"/>
                  </a:cubicBezTo>
                  <a:cubicBezTo>
                    <a:pt x="141" y="19"/>
                    <a:pt x="146" y="15"/>
                    <a:pt x="150" y="18"/>
                  </a:cubicBezTo>
                  <a:cubicBezTo>
                    <a:pt x="154" y="22"/>
                    <a:pt x="157" y="27"/>
                    <a:pt x="158" y="30"/>
                  </a:cubicBezTo>
                  <a:cubicBezTo>
                    <a:pt x="159" y="33"/>
                    <a:pt x="157" y="35"/>
                    <a:pt x="157" y="38"/>
                  </a:cubicBezTo>
                  <a:cubicBezTo>
                    <a:pt x="158" y="40"/>
                    <a:pt x="162" y="38"/>
                    <a:pt x="166" y="34"/>
                  </a:cubicBezTo>
                  <a:cubicBezTo>
                    <a:pt x="171" y="48"/>
                    <a:pt x="171" y="48"/>
                    <a:pt x="171" y="48"/>
                  </a:cubicBezTo>
                  <a:cubicBezTo>
                    <a:pt x="172" y="54"/>
                    <a:pt x="172" y="54"/>
                    <a:pt x="172" y="54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82" y="69"/>
                    <a:pt x="182" y="69"/>
                    <a:pt x="182" y="69"/>
                  </a:cubicBezTo>
                  <a:cubicBezTo>
                    <a:pt x="190" y="76"/>
                    <a:pt x="190" y="76"/>
                    <a:pt x="190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8" y="71"/>
                    <a:pt x="198" y="71"/>
                    <a:pt x="198" y="71"/>
                  </a:cubicBezTo>
                  <a:cubicBezTo>
                    <a:pt x="207" y="77"/>
                    <a:pt x="207" y="77"/>
                    <a:pt x="207" y="77"/>
                  </a:cubicBezTo>
                  <a:cubicBezTo>
                    <a:pt x="201" y="86"/>
                    <a:pt x="201" y="86"/>
                    <a:pt x="201" y="86"/>
                  </a:cubicBezTo>
                  <a:cubicBezTo>
                    <a:pt x="195" y="96"/>
                    <a:pt x="195" y="96"/>
                    <a:pt x="195" y="96"/>
                  </a:cubicBezTo>
                  <a:cubicBezTo>
                    <a:pt x="200" y="105"/>
                    <a:pt x="200" y="105"/>
                    <a:pt x="200" y="105"/>
                  </a:cubicBezTo>
                  <a:cubicBezTo>
                    <a:pt x="198" y="112"/>
                    <a:pt x="198" y="112"/>
                    <a:pt x="198" y="112"/>
                  </a:cubicBezTo>
                  <a:cubicBezTo>
                    <a:pt x="202" y="119"/>
                    <a:pt x="202" y="119"/>
                    <a:pt x="202" y="119"/>
                  </a:cubicBezTo>
                  <a:cubicBezTo>
                    <a:pt x="195" y="127"/>
                    <a:pt x="195" y="127"/>
                    <a:pt x="195" y="127"/>
                  </a:cubicBezTo>
                  <a:cubicBezTo>
                    <a:pt x="181" y="119"/>
                    <a:pt x="181" y="119"/>
                    <a:pt x="181" y="119"/>
                  </a:cubicBezTo>
                  <a:cubicBezTo>
                    <a:pt x="171" y="123"/>
                    <a:pt x="171" y="123"/>
                    <a:pt x="171" y="123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57" y="109"/>
                    <a:pt x="157" y="109"/>
                    <a:pt x="157" y="109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39" y="110"/>
                    <a:pt x="139" y="110"/>
                    <a:pt x="139" y="110"/>
                  </a:cubicBezTo>
                  <a:cubicBezTo>
                    <a:pt x="145" y="115"/>
                    <a:pt x="145" y="115"/>
                    <a:pt x="145" y="115"/>
                  </a:cubicBezTo>
                  <a:cubicBezTo>
                    <a:pt x="144" y="126"/>
                    <a:pt x="144" y="126"/>
                    <a:pt x="144" y="126"/>
                  </a:cubicBezTo>
                  <a:cubicBezTo>
                    <a:pt x="138" y="130"/>
                    <a:pt x="138" y="130"/>
                    <a:pt x="138" y="130"/>
                  </a:cubicBezTo>
                  <a:cubicBezTo>
                    <a:pt x="138" y="134"/>
                    <a:pt x="138" y="134"/>
                    <a:pt x="138" y="134"/>
                  </a:cubicBezTo>
                  <a:cubicBezTo>
                    <a:pt x="141" y="138"/>
                    <a:pt x="141" y="138"/>
                    <a:pt x="141" y="138"/>
                  </a:cubicBezTo>
                  <a:cubicBezTo>
                    <a:pt x="141" y="144"/>
                    <a:pt x="141" y="144"/>
                    <a:pt x="141" y="144"/>
                  </a:cubicBezTo>
                  <a:cubicBezTo>
                    <a:pt x="132" y="145"/>
                    <a:pt x="132" y="145"/>
                    <a:pt x="132" y="145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6" y="163"/>
                    <a:pt x="126" y="163"/>
                    <a:pt x="126" y="163"/>
                  </a:cubicBezTo>
                  <a:cubicBezTo>
                    <a:pt x="135" y="166"/>
                    <a:pt x="135" y="166"/>
                    <a:pt x="135" y="166"/>
                  </a:cubicBezTo>
                  <a:cubicBezTo>
                    <a:pt x="140" y="161"/>
                    <a:pt x="140" y="161"/>
                    <a:pt x="140" y="161"/>
                  </a:cubicBezTo>
                  <a:cubicBezTo>
                    <a:pt x="145" y="158"/>
                    <a:pt x="145" y="158"/>
                    <a:pt x="145" y="158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35" y="187"/>
                    <a:pt x="135" y="187"/>
                    <a:pt x="135" y="187"/>
                  </a:cubicBezTo>
                  <a:cubicBezTo>
                    <a:pt x="139" y="191"/>
                    <a:pt x="139" y="191"/>
                    <a:pt x="139" y="191"/>
                  </a:cubicBezTo>
                  <a:cubicBezTo>
                    <a:pt x="129" y="202"/>
                    <a:pt x="129" y="202"/>
                    <a:pt x="129" y="202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13" y="202"/>
                    <a:pt x="113" y="202"/>
                    <a:pt x="113" y="202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2" y="196"/>
                    <a:pt x="112" y="196"/>
                    <a:pt x="112" y="196"/>
                  </a:cubicBezTo>
                  <a:cubicBezTo>
                    <a:pt x="103" y="188"/>
                    <a:pt x="103" y="188"/>
                    <a:pt x="103" y="188"/>
                  </a:cubicBezTo>
                  <a:cubicBezTo>
                    <a:pt x="98" y="193"/>
                    <a:pt x="98" y="193"/>
                    <a:pt x="98" y="193"/>
                  </a:cubicBezTo>
                  <a:cubicBezTo>
                    <a:pt x="96" y="188"/>
                    <a:pt x="96" y="188"/>
                    <a:pt x="96" y="188"/>
                  </a:cubicBezTo>
                  <a:cubicBezTo>
                    <a:pt x="95" y="184"/>
                    <a:pt x="95" y="184"/>
                    <a:pt x="95" y="184"/>
                  </a:cubicBezTo>
                  <a:cubicBezTo>
                    <a:pt x="85" y="178"/>
                    <a:pt x="85" y="178"/>
                    <a:pt x="85" y="178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1" y="170"/>
                    <a:pt x="81" y="170"/>
                    <a:pt x="81" y="170"/>
                  </a:cubicBezTo>
                  <a:cubicBezTo>
                    <a:pt x="78" y="176"/>
                    <a:pt x="78" y="176"/>
                    <a:pt x="78" y="17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1" y="163"/>
                    <a:pt x="61" y="163"/>
                    <a:pt x="61" y="163"/>
                  </a:cubicBezTo>
                  <a:cubicBezTo>
                    <a:pt x="54" y="165"/>
                    <a:pt x="54" y="165"/>
                    <a:pt x="54" y="165"/>
                  </a:cubicBezTo>
                  <a:cubicBezTo>
                    <a:pt x="52" y="158"/>
                    <a:pt x="52" y="158"/>
                    <a:pt x="52" y="158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48"/>
                    <a:pt x="39" y="148"/>
                    <a:pt x="39" y="148"/>
                  </a:cubicBezTo>
                  <a:cubicBezTo>
                    <a:pt x="35" y="143"/>
                    <a:pt x="35" y="143"/>
                    <a:pt x="35" y="143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2" y="137"/>
                    <a:pt x="22" y="137"/>
                    <a:pt x="22" y="137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0" y="129"/>
                    <a:pt x="10" y="129"/>
                    <a:pt x="10" y="129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5" y="122"/>
                    <a:pt x="5" y="122"/>
                    <a:pt x="5" y="12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6" y="92"/>
                    <a:pt x="6" y="92"/>
                    <a:pt x="6" y="92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38" y="37"/>
                    <a:pt x="38" y="37"/>
                    <a:pt x="38" y="37"/>
                  </a:cubicBezTo>
                  <a:lnTo>
                    <a:pt x="46" y="29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0" name="Freeform 16"/>
            <p:cNvSpPr>
              <a:spLocks/>
            </p:cNvSpPr>
            <p:nvPr/>
          </p:nvSpPr>
          <p:spPr bwMode="auto">
            <a:xfrm>
              <a:off x="1544" y="2528"/>
              <a:ext cx="252" cy="317"/>
            </a:xfrm>
            <a:custGeom>
              <a:avLst/>
              <a:gdLst>
                <a:gd name="T0" fmla="*/ 0 w 121"/>
                <a:gd name="T1" fmla="*/ 59 h 152"/>
                <a:gd name="T2" fmla="*/ 6 w 121"/>
                <a:gd name="T3" fmla="*/ 48 h 152"/>
                <a:gd name="T4" fmla="*/ 25 w 121"/>
                <a:gd name="T5" fmla="*/ 45 h 152"/>
                <a:gd name="T6" fmla="*/ 31 w 121"/>
                <a:gd name="T7" fmla="*/ 35 h 152"/>
                <a:gd name="T8" fmla="*/ 34 w 121"/>
                <a:gd name="T9" fmla="*/ 26 h 152"/>
                <a:gd name="T10" fmla="*/ 37 w 121"/>
                <a:gd name="T11" fmla="*/ 15 h 152"/>
                <a:gd name="T12" fmla="*/ 49 w 121"/>
                <a:gd name="T13" fmla="*/ 8 h 152"/>
                <a:gd name="T14" fmla="*/ 56 w 121"/>
                <a:gd name="T15" fmla="*/ 2 h 152"/>
                <a:gd name="T16" fmla="*/ 62 w 121"/>
                <a:gd name="T17" fmla="*/ 5 h 152"/>
                <a:gd name="T18" fmla="*/ 72 w 121"/>
                <a:gd name="T19" fmla="*/ 6 h 152"/>
                <a:gd name="T20" fmla="*/ 80 w 121"/>
                <a:gd name="T21" fmla="*/ 11 h 152"/>
                <a:gd name="T22" fmla="*/ 86 w 121"/>
                <a:gd name="T23" fmla="*/ 6 h 152"/>
                <a:gd name="T24" fmla="*/ 90 w 121"/>
                <a:gd name="T25" fmla="*/ 10 h 152"/>
                <a:gd name="T26" fmla="*/ 98 w 121"/>
                <a:gd name="T27" fmla="*/ 14 h 152"/>
                <a:gd name="T28" fmla="*/ 98 w 121"/>
                <a:gd name="T29" fmla="*/ 23 h 152"/>
                <a:gd name="T30" fmla="*/ 91 w 121"/>
                <a:gd name="T31" fmla="*/ 22 h 152"/>
                <a:gd name="T32" fmla="*/ 95 w 121"/>
                <a:gd name="T33" fmla="*/ 33 h 152"/>
                <a:gd name="T34" fmla="*/ 105 w 121"/>
                <a:gd name="T35" fmla="*/ 49 h 152"/>
                <a:gd name="T36" fmla="*/ 113 w 121"/>
                <a:gd name="T37" fmla="*/ 65 h 152"/>
                <a:gd name="T38" fmla="*/ 114 w 121"/>
                <a:gd name="T39" fmla="*/ 92 h 152"/>
                <a:gd name="T40" fmla="*/ 118 w 121"/>
                <a:gd name="T41" fmla="*/ 112 h 152"/>
                <a:gd name="T42" fmla="*/ 120 w 121"/>
                <a:gd name="T43" fmla="*/ 128 h 152"/>
                <a:gd name="T44" fmla="*/ 113 w 121"/>
                <a:gd name="T45" fmla="*/ 144 h 152"/>
                <a:gd name="T46" fmla="*/ 82 w 121"/>
                <a:gd name="T47" fmla="*/ 152 h 152"/>
                <a:gd name="T48" fmla="*/ 65 w 121"/>
                <a:gd name="T49" fmla="*/ 144 h 152"/>
                <a:gd name="T50" fmla="*/ 56 w 121"/>
                <a:gd name="T51" fmla="*/ 124 h 152"/>
                <a:gd name="T52" fmla="*/ 46 w 121"/>
                <a:gd name="T53" fmla="*/ 109 h 152"/>
                <a:gd name="T54" fmla="*/ 39 w 121"/>
                <a:gd name="T55" fmla="*/ 91 h 152"/>
                <a:gd name="T56" fmla="*/ 37 w 121"/>
                <a:gd name="T57" fmla="*/ 78 h 152"/>
                <a:gd name="T58" fmla="*/ 34 w 121"/>
                <a:gd name="T59" fmla="*/ 74 h 152"/>
                <a:gd name="T60" fmla="*/ 32 w 121"/>
                <a:gd name="T61" fmla="*/ 91 h 152"/>
                <a:gd name="T62" fmla="*/ 32 w 121"/>
                <a:gd name="T63" fmla="*/ 93 h 152"/>
                <a:gd name="T64" fmla="*/ 17 w 121"/>
                <a:gd name="T65" fmla="*/ 87 h 152"/>
                <a:gd name="T66" fmla="*/ 13 w 121"/>
                <a:gd name="T67" fmla="*/ 82 h 152"/>
                <a:gd name="T68" fmla="*/ 15 w 121"/>
                <a:gd name="T69" fmla="*/ 71 h 152"/>
                <a:gd name="T70" fmla="*/ 0 w 121"/>
                <a:gd name="T71" fmla="*/ 5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152">
                  <a:moveTo>
                    <a:pt x="0" y="59"/>
                  </a:moveTo>
                  <a:cubicBezTo>
                    <a:pt x="3" y="54"/>
                    <a:pt x="5" y="50"/>
                    <a:pt x="6" y="48"/>
                  </a:cubicBezTo>
                  <a:cubicBezTo>
                    <a:pt x="9" y="43"/>
                    <a:pt x="18" y="45"/>
                    <a:pt x="25" y="45"/>
                  </a:cubicBezTo>
                  <a:cubicBezTo>
                    <a:pt x="33" y="45"/>
                    <a:pt x="31" y="39"/>
                    <a:pt x="31" y="35"/>
                  </a:cubicBezTo>
                  <a:cubicBezTo>
                    <a:pt x="31" y="32"/>
                    <a:pt x="36" y="29"/>
                    <a:pt x="34" y="26"/>
                  </a:cubicBezTo>
                  <a:cubicBezTo>
                    <a:pt x="32" y="22"/>
                    <a:pt x="34" y="17"/>
                    <a:pt x="37" y="15"/>
                  </a:cubicBezTo>
                  <a:cubicBezTo>
                    <a:pt x="40" y="13"/>
                    <a:pt x="43" y="8"/>
                    <a:pt x="49" y="8"/>
                  </a:cubicBezTo>
                  <a:cubicBezTo>
                    <a:pt x="54" y="7"/>
                    <a:pt x="53" y="5"/>
                    <a:pt x="56" y="2"/>
                  </a:cubicBezTo>
                  <a:cubicBezTo>
                    <a:pt x="60" y="0"/>
                    <a:pt x="62" y="5"/>
                    <a:pt x="62" y="5"/>
                  </a:cubicBezTo>
                  <a:cubicBezTo>
                    <a:pt x="62" y="5"/>
                    <a:pt x="68" y="10"/>
                    <a:pt x="72" y="6"/>
                  </a:cubicBezTo>
                  <a:cubicBezTo>
                    <a:pt x="75" y="3"/>
                    <a:pt x="77" y="11"/>
                    <a:pt x="80" y="11"/>
                  </a:cubicBezTo>
                  <a:cubicBezTo>
                    <a:pt x="82" y="11"/>
                    <a:pt x="85" y="8"/>
                    <a:pt x="86" y="6"/>
                  </a:cubicBezTo>
                  <a:cubicBezTo>
                    <a:pt x="88" y="9"/>
                    <a:pt x="85" y="11"/>
                    <a:pt x="90" y="10"/>
                  </a:cubicBezTo>
                  <a:cubicBezTo>
                    <a:pt x="95" y="10"/>
                    <a:pt x="97" y="10"/>
                    <a:pt x="98" y="14"/>
                  </a:cubicBezTo>
                  <a:cubicBezTo>
                    <a:pt x="100" y="17"/>
                    <a:pt x="101" y="24"/>
                    <a:pt x="98" y="23"/>
                  </a:cubicBezTo>
                  <a:cubicBezTo>
                    <a:pt x="95" y="22"/>
                    <a:pt x="93" y="21"/>
                    <a:pt x="91" y="22"/>
                  </a:cubicBezTo>
                  <a:cubicBezTo>
                    <a:pt x="89" y="24"/>
                    <a:pt x="93" y="29"/>
                    <a:pt x="95" y="33"/>
                  </a:cubicBezTo>
                  <a:cubicBezTo>
                    <a:pt x="98" y="37"/>
                    <a:pt x="99" y="45"/>
                    <a:pt x="105" y="49"/>
                  </a:cubicBezTo>
                  <a:cubicBezTo>
                    <a:pt x="111" y="53"/>
                    <a:pt x="113" y="61"/>
                    <a:pt x="113" y="65"/>
                  </a:cubicBezTo>
                  <a:cubicBezTo>
                    <a:pt x="112" y="70"/>
                    <a:pt x="113" y="86"/>
                    <a:pt x="114" y="92"/>
                  </a:cubicBezTo>
                  <a:cubicBezTo>
                    <a:pt x="114" y="98"/>
                    <a:pt x="114" y="104"/>
                    <a:pt x="118" y="112"/>
                  </a:cubicBezTo>
                  <a:cubicBezTo>
                    <a:pt x="121" y="120"/>
                    <a:pt x="121" y="125"/>
                    <a:pt x="120" y="128"/>
                  </a:cubicBezTo>
                  <a:cubicBezTo>
                    <a:pt x="119" y="131"/>
                    <a:pt x="115" y="140"/>
                    <a:pt x="113" y="144"/>
                  </a:cubicBezTo>
                  <a:cubicBezTo>
                    <a:pt x="111" y="149"/>
                    <a:pt x="89" y="152"/>
                    <a:pt x="82" y="152"/>
                  </a:cubicBezTo>
                  <a:cubicBezTo>
                    <a:pt x="75" y="152"/>
                    <a:pt x="69" y="148"/>
                    <a:pt x="65" y="144"/>
                  </a:cubicBezTo>
                  <a:cubicBezTo>
                    <a:pt x="61" y="139"/>
                    <a:pt x="60" y="129"/>
                    <a:pt x="56" y="124"/>
                  </a:cubicBezTo>
                  <a:cubicBezTo>
                    <a:pt x="52" y="118"/>
                    <a:pt x="45" y="115"/>
                    <a:pt x="46" y="109"/>
                  </a:cubicBezTo>
                  <a:cubicBezTo>
                    <a:pt x="46" y="103"/>
                    <a:pt x="41" y="96"/>
                    <a:pt x="39" y="91"/>
                  </a:cubicBezTo>
                  <a:cubicBezTo>
                    <a:pt x="37" y="87"/>
                    <a:pt x="38" y="82"/>
                    <a:pt x="37" y="78"/>
                  </a:cubicBezTo>
                  <a:cubicBezTo>
                    <a:pt x="36" y="74"/>
                    <a:pt x="35" y="69"/>
                    <a:pt x="34" y="74"/>
                  </a:cubicBezTo>
                  <a:cubicBezTo>
                    <a:pt x="32" y="78"/>
                    <a:pt x="34" y="85"/>
                    <a:pt x="32" y="91"/>
                  </a:cubicBezTo>
                  <a:cubicBezTo>
                    <a:pt x="32" y="92"/>
                    <a:pt x="32" y="92"/>
                    <a:pt x="32" y="93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5" y="71"/>
                    <a:pt x="15" y="71"/>
                    <a:pt x="15" y="71"/>
                  </a:cubicBezTo>
                  <a:lnTo>
                    <a:pt x="0" y="59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1" name="Freeform 17"/>
            <p:cNvSpPr>
              <a:spLocks/>
            </p:cNvSpPr>
            <p:nvPr/>
          </p:nvSpPr>
          <p:spPr bwMode="auto">
            <a:xfrm>
              <a:off x="1298" y="2999"/>
              <a:ext cx="367" cy="300"/>
            </a:xfrm>
            <a:custGeom>
              <a:avLst/>
              <a:gdLst>
                <a:gd name="T0" fmla="*/ 344 w 367"/>
                <a:gd name="T1" fmla="*/ 258 h 300"/>
                <a:gd name="T2" fmla="*/ 321 w 367"/>
                <a:gd name="T3" fmla="*/ 258 h 300"/>
                <a:gd name="T4" fmla="*/ 327 w 367"/>
                <a:gd name="T5" fmla="*/ 281 h 300"/>
                <a:gd name="T6" fmla="*/ 323 w 367"/>
                <a:gd name="T7" fmla="*/ 298 h 300"/>
                <a:gd name="T8" fmla="*/ 296 w 367"/>
                <a:gd name="T9" fmla="*/ 298 h 300"/>
                <a:gd name="T10" fmla="*/ 275 w 367"/>
                <a:gd name="T11" fmla="*/ 300 h 300"/>
                <a:gd name="T12" fmla="*/ 241 w 367"/>
                <a:gd name="T13" fmla="*/ 271 h 300"/>
                <a:gd name="T14" fmla="*/ 223 w 367"/>
                <a:gd name="T15" fmla="*/ 246 h 300"/>
                <a:gd name="T16" fmla="*/ 191 w 367"/>
                <a:gd name="T17" fmla="*/ 219 h 300"/>
                <a:gd name="T18" fmla="*/ 158 w 367"/>
                <a:gd name="T19" fmla="*/ 221 h 300"/>
                <a:gd name="T20" fmla="*/ 112 w 367"/>
                <a:gd name="T21" fmla="*/ 212 h 300"/>
                <a:gd name="T22" fmla="*/ 104 w 367"/>
                <a:gd name="T23" fmla="*/ 175 h 300"/>
                <a:gd name="T24" fmla="*/ 73 w 367"/>
                <a:gd name="T25" fmla="*/ 160 h 300"/>
                <a:gd name="T26" fmla="*/ 46 w 367"/>
                <a:gd name="T27" fmla="*/ 133 h 300"/>
                <a:gd name="T28" fmla="*/ 16 w 367"/>
                <a:gd name="T29" fmla="*/ 131 h 300"/>
                <a:gd name="T30" fmla="*/ 14 w 367"/>
                <a:gd name="T31" fmla="*/ 104 h 300"/>
                <a:gd name="T32" fmla="*/ 8 w 367"/>
                <a:gd name="T33" fmla="*/ 79 h 300"/>
                <a:gd name="T34" fmla="*/ 19 w 367"/>
                <a:gd name="T35" fmla="*/ 75 h 300"/>
                <a:gd name="T36" fmla="*/ 62 w 367"/>
                <a:gd name="T37" fmla="*/ 33 h 300"/>
                <a:gd name="T38" fmla="*/ 89 w 367"/>
                <a:gd name="T39" fmla="*/ 8 h 300"/>
                <a:gd name="T40" fmla="*/ 112 w 367"/>
                <a:gd name="T41" fmla="*/ 4 h 300"/>
                <a:gd name="T42" fmla="*/ 139 w 367"/>
                <a:gd name="T43" fmla="*/ 8 h 300"/>
                <a:gd name="T44" fmla="*/ 166 w 367"/>
                <a:gd name="T45" fmla="*/ 8 h 300"/>
                <a:gd name="T46" fmla="*/ 169 w 367"/>
                <a:gd name="T47" fmla="*/ 46 h 300"/>
                <a:gd name="T48" fmla="*/ 162 w 367"/>
                <a:gd name="T49" fmla="*/ 77 h 300"/>
                <a:gd name="T50" fmla="*/ 173 w 367"/>
                <a:gd name="T51" fmla="*/ 98 h 300"/>
                <a:gd name="T52" fmla="*/ 191 w 367"/>
                <a:gd name="T53" fmla="*/ 117 h 300"/>
                <a:gd name="T54" fmla="*/ 210 w 367"/>
                <a:gd name="T55" fmla="*/ 133 h 300"/>
                <a:gd name="T56" fmla="*/ 244 w 367"/>
                <a:gd name="T57" fmla="*/ 142 h 300"/>
                <a:gd name="T58" fmla="*/ 271 w 367"/>
                <a:gd name="T59" fmla="*/ 162 h 300"/>
                <a:gd name="T60" fmla="*/ 289 w 367"/>
                <a:gd name="T61" fmla="*/ 173 h 300"/>
                <a:gd name="T62" fmla="*/ 308 w 367"/>
                <a:gd name="T63" fmla="*/ 187 h 300"/>
                <a:gd name="T64" fmla="*/ 331 w 367"/>
                <a:gd name="T65" fmla="*/ 187 h 300"/>
                <a:gd name="T66" fmla="*/ 339 w 367"/>
                <a:gd name="T67" fmla="*/ 204 h 300"/>
                <a:gd name="T68" fmla="*/ 362 w 367"/>
                <a:gd name="T69" fmla="*/ 22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7" h="300">
                  <a:moveTo>
                    <a:pt x="367" y="235"/>
                  </a:moveTo>
                  <a:lnTo>
                    <a:pt x="344" y="258"/>
                  </a:lnTo>
                  <a:lnTo>
                    <a:pt x="331" y="250"/>
                  </a:lnTo>
                  <a:lnTo>
                    <a:pt x="321" y="258"/>
                  </a:lnTo>
                  <a:lnTo>
                    <a:pt x="337" y="273"/>
                  </a:lnTo>
                  <a:lnTo>
                    <a:pt x="327" y="281"/>
                  </a:lnTo>
                  <a:lnTo>
                    <a:pt x="327" y="292"/>
                  </a:lnTo>
                  <a:lnTo>
                    <a:pt x="323" y="298"/>
                  </a:lnTo>
                  <a:lnTo>
                    <a:pt x="306" y="281"/>
                  </a:lnTo>
                  <a:lnTo>
                    <a:pt x="296" y="298"/>
                  </a:lnTo>
                  <a:lnTo>
                    <a:pt x="283" y="294"/>
                  </a:lnTo>
                  <a:lnTo>
                    <a:pt x="275" y="300"/>
                  </a:lnTo>
                  <a:lnTo>
                    <a:pt x="264" y="281"/>
                  </a:lnTo>
                  <a:lnTo>
                    <a:pt x="241" y="271"/>
                  </a:lnTo>
                  <a:lnTo>
                    <a:pt x="237" y="260"/>
                  </a:lnTo>
                  <a:lnTo>
                    <a:pt x="223" y="246"/>
                  </a:lnTo>
                  <a:lnTo>
                    <a:pt x="206" y="242"/>
                  </a:lnTo>
                  <a:lnTo>
                    <a:pt x="191" y="219"/>
                  </a:lnTo>
                  <a:lnTo>
                    <a:pt x="179" y="225"/>
                  </a:lnTo>
                  <a:lnTo>
                    <a:pt x="158" y="221"/>
                  </a:lnTo>
                  <a:lnTo>
                    <a:pt x="131" y="231"/>
                  </a:lnTo>
                  <a:lnTo>
                    <a:pt x="112" y="212"/>
                  </a:lnTo>
                  <a:lnTo>
                    <a:pt x="112" y="185"/>
                  </a:lnTo>
                  <a:lnTo>
                    <a:pt x="104" y="175"/>
                  </a:lnTo>
                  <a:lnTo>
                    <a:pt x="96" y="181"/>
                  </a:lnTo>
                  <a:lnTo>
                    <a:pt x="73" y="160"/>
                  </a:lnTo>
                  <a:lnTo>
                    <a:pt x="48" y="160"/>
                  </a:lnTo>
                  <a:lnTo>
                    <a:pt x="46" y="133"/>
                  </a:lnTo>
                  <a:lnTo>
                    <a:pt x="19" y="133"/>
                  </a:lnTo>
                  <a:lnTo>
                    <a:pt x="16" y="131"/>
                  </a:lnTo>
                  <a:lnTo>
                    <a:pt x="21" y="117"/>
                  </a:lnTo>
                  <a:lnTo>
                    <a:pt x="14" y="104"/>
                  </a:lnTo>
                  <a:lnTo>
                    <a:pt x="0" y="96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19" y="75"/>
                  </a:lnTo>
                  <a:lnTo>
                    <a:pt x="41" y="71"/>
                  </a:lnTo>
                  <a:lnTo>
                    <a:pt x="62" y="33"/>
                  </a:lnTo>
                  <a:lnTo>
                    <a:pt x="81" y="23"/>
                  </a:lnTo>
                  <a:lnTo>
                    <a:pt x="89" y="8"/>
                  </a:lnTo>
                  <a:lnTo>
                    <a:pt x="100" y="12"/>
                  </a:lnTo>
                  <a:lnTo>
                    <a:pt x="112" y="4"/>
                  </a:lnTo>
                  <a:lnTo>
                    <a:pt x="131" y="0"/>
                  </a:lnTo>
                  <a:lnTo>
                    <a:pt x="139" y="8"/>
                  </a:lnTo>
                  <a:lnTo>
                    <a:pt x="150" y="6"/>
                  </a:lnTo>
                  <a:lnTo>
                    <a:pt x="166" y="8"/>
                  </a:lnTo>
                  <a:lnTo>
                    <a:pt x="179" y="31"/>
                  </a:lnTo>
                  <a:lnTo>
                    <a:pt x="169" y="46"/>
                  </a:lnTo>
                  <a:lnTo>
                    <a:pt x="162" y="62"/>
                  </a:lnTo>
                  <a:lnTo>
                    <a:pt x="162" y="77"/>
                  </a:lnTo>
                  <a:lnTo>
                    <a:pt x="173" y="87"/>
                  </a:lnTo>
                  <a:lnTo>
                    <a:pt x="173" y="98"/>
                  </a:lnTo>
                  <a:lnTo>
                    <a:pt x="183" y="102"/>
                  </a:lnTo>
                  <a:lnTo>
                    <a:pt x="191" y="117"/>
                  </a:lnTo>
                  <a:lnTo>
                    <a:pt x="208" y="119"/>
                  </a:lnTo>
                  <a:lnTo>
                    <a:pt x="210" y="133"/>
                  </a:lnTo>
                  <a:lnTo>
                    <a:pt x="235" y="131"/>
                  </a:lnTo>
                  <a:lnTo>
                    <a:pt x="244" y="142"/>
                  </a:lnTo>
                  <a:lnTo>
                    <a:pt x="254" y="146"/>
                  </a:lnTo>
                  <a:lnTo>
                    <a:pt x="271" y="162"/>
                  </a:lnTo>
                  <a:lnTo>
                    <a:pt x="275" y="177"/>
                  </a:lnTo>
                  <a:lnTo>
                    <a:pt x="289" y="173"/>
                  </a:lnTo>
                  <a:lnTo>
                    <a:pt x="304" y="173"/>
                  </a:lnTo>
                  <a:lnTo>
                    <a:pt x="308" y="187"/>
                  </a:lnTo>
                  <a:lnTo>
                    <a:pt x="325" y="200"/>
                  </a:lnTo>
                  <a:lnTo>
                    <a:pt x="331" y="187"/>
                  </a:lnTo>
                  <a:lnTo>
                    <a:pt x="346" y="198"/>
                  </a:lnTo>
                  <a:lnTo>
                    <a:pt x="339" y="204"/>
                  </a:lnTo>
                  <a:lnTo>
                    <a:pt x="360" y="217"/>
                  </a:lnTo>
                  <a:lnTo>
                    <a:pt x="362" y="225"/>
                  </a:lnTo>
                  <a:lnTo>
                    <a:pt x="367" y="235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2" name="Freeform 18"/>
            <p:cNvSpPr>
              <a:spLocks/>
            </p:cNvSpPr>
            <p:nvPr/>
          </p:nvSpPr>
          <p:spPr bwMode="auto">
            <a:xfrm>
              <a:off x="1152" y="2855"/>
              <a:ext cx="208" cy="219"/>
            </a:xfrm>
            <a:custGeom>
              <a:avLst/>
              <a:gdLst>
                <a:gd name="T0" fmla="*/ 16 w 100"/>
                <a:gd name="T1" fmla="*/ 18 h 105"/>
                <a:gd name="T2" fmla="*/ 20 w 100"/>
                <a:gd name="T3" fmla="*/ 15 h 105"/>
                <a:gd name="T4" fmla="*/ 30 w 100"/>
                <a:gd name="T5" fmla="*/ 19 h 105"/>
                <a:gd name="T6" fmla="*/ 37 w 100"/>
                <a:gd name="T7" fmla="*/ 23 h 105"/>
                <a:gd name="T8" fmla="*/ 40 w 100"/>
                <a:gd name="T9" fmla="*/ 26 h 105"/>
                <a:gd name="T10" fmla="*/ 37 w 100"/>
                <a:gd name="T11" fmla="*/ 32 h 105"/>
                <a:gd name="T12" fmla="*/ 45 w 100"/>
                <a:gd name="T13" fmla="*/ 40 h 105"/>
                <a:gd name="T14" fmla="*/ 52 w 100"/>
                <a:gd name="T15" fmla="*/ 32 h 105"/>
                <a:gd name="T16" fmla="*/ 46 w 100"/>
                <a:gd name="T17" fmla="*/ 25 h 105"/>
                <a:gd name="T18" fmla="*/ 45 w 100"/>
                <a:gd name="T19" fmla="*/ 23 h 105"/>
                <a:gd name="T20" fmla="*/ 40 w 100"/>
                <a:gd name="T21" fmla="*/ 14 h 105"/>
                <a:gd name="T22" fmla="*/ 39 w 100"/>
                <a:gd name="T23" fmla="*/ 3 h 105"/>
                <a:gd name="T24" fmla="*/ 35 w 100"/>
                <a:gd name="T25" fmla="*/ 0 h 105"/>
                <a:gd name="T26" fmla="*/ 67 w 100"/>
                <a:gd name="T27" fmla="*/ 0 h 105"/>
                <a:gd name="T28" fmla="*/ 68 w 100"/>
                <a:gd name="T29" fmla="*/ 0 h 105"/>
                <a:gd name="T30" fmla="*/ 68 w 100"/>
                <a:gd name="T31" fmla="*/ 13 h 105"/>
                <a:gd name="T32" fmla="*/ 83 w 100"/>
                <a:gd name="T33" fmla="*/ 58 h 105"/>
                <a:gd name="T34" fmla="*/ 92 w 100"/>
                <a:gd name="T35" fmla="*/ 62 h 105"/>
                <a:gd name="T36" fmla="*/ 100 w 100"/>
                <a:gd name="T37" fmla="*/ 85 h 105"/>
                <a:gd name="T38" fmla="*/ 90 w 100"/>
                <a:gd name="T39" fmla="*/ 103 h 105"/>
                <a:gd name="T40" fmla="*/ 79 w 100"/>
                <a:gd name="T41" fmla="*/ 105 h 105"/>
                <a:gd name="T42" fmla="*/ 74 w 100"/>
                <a:gd name="T43" fmla="*/ 105 h 105"/>
                <a:gd name="T44" fmla="*/ 72 w 100"/>
                <a:gd name="T45" fmla="*/ 97 h 105"/>
                <a:gd name="T46" fmla="*/ 64 w 100"/>
                <a:gd name="T47" fmla="*/ 94 h 105"/>
                <a:gd name="T48" fmla="*/ 68 w 100"/>
                <a:gd name="T49" fmla="*/ 85 h 105"/>
                <a:gd name="T50" fmla="*/ 63 w 100"/>
                <a:gd name="T51" fmla="*/ 83 h 105"/>
                <a:gd name="T52" fmla="*/ 64 w 100"/>
                <a:gd name="T53" fmla="*/ 79 h 105"/>
                <a:gd name="T54" fmla="*/ 57 w 100"/>
                <a:gd name="T55" fmla="*/ 79 h 105"/>
                <a:gd name="T56" fmla="*/ 55 w 100"/>
                <a:gd name="T57" fmla="*/ 81 h 105"/>
                <a:gd name="T58" fmla="*/ 52 w 100"/>
                <a:gd name="T59" fmla="*/ 78 h 105"/>
                <a:gd name="T60" fmla="*/ 54 w 100"/>
                <a:gd name="T61" fmla="*/ 70 h 105"/>
                <a:gd name="T62" fmla="*/ 46 w 100"/>
                <a:gd name="T63" fmla="*/ 64 h 105"/>
                <a:gd name="T64" fmla="*/ 42 w 100"/>
                <a:gd name="T65" fmla="*/ 67 h 105"/>
                <a:gd name="T66" fmla="*/ 38 w 100"/>
                <a:gd name="T67" fmla="*/ 68 h 105"/>
                <a:gd name="T68" fmla="*/ 32 w 100"/>
                <a:gd name="T69" fmla="*/ 65 h 105"/>
                <a:gd name="T70" fmla="*/ 21 w 100"/>
                <a:gd name="T71" fmla="*/ 65 h 105"/>
                <a:gd name="T72" fmla="*/ 20 w 100"/>
                <a:gd name="T73" fmla="*/ 60 h 105"/>
                <a:gd name="T74" fmla="*/ 14 w 100"/>
                <a:gd name="T75" fmla="*/ 64 h 105"/>
                <a:gd name="T76" fmla="*/ 9 w 100"/>
                <a:gd name="T77" fmla="*/ 63 h 105"/>
                <a:gd name="T78" fmla="*/ 9 w 100"/>
                <a:gd name="T79" fmla="*/ 63 h 105"/>
                <a:gd name="T80" fmla="*/ 7 w 100"/>
                <a:gd name="T81" fmla="*/ 56 h 105"/>
                <a:gd name="T82" fmla="*/ 9 w 100"/>
                <a:gd name="T83" fmla="*/ 50 h 105"/>
                <a:gd name="T84" fmla="*/ 8 w 100"/>
                <a:gd name="T85" fmla="*/ 42 h 105"/>
                <a:gd name="T86" fmla="*/ 2 w 100"/>
                <a:gd name="T87" fmla="*/ 35 h 105"/>
                <a:gd name="T88" fmla="*/ 4 w 100"/>
                <a:gd name="T89" fmla="*/ 31 h 105"/>
                <a:gd name="T90" fmla="*/ 0 w 100"/>
                <a:gd name="T91" fmla="*/ 27 h 105"/>
                <a:gd name="T92" fmla="*/ 16 w 100"/>
                <a:gd name="T93" fmla="*/ 26 h 105"/>
                <a:gd name="T94" fmla="*/ 16 w 100"/>
                <a:gd name="T95" fmla="*/ 1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0" h="105">
                  <a:moveTo>
                    <a:pt x="16" y="18"/>
                  </a:moveTo>
                  <a:cubicBezTo>
                    <a:pt x="18" y="18"/>
                    <a:pt x="19" y="16"/>
                    <a:pt x="20" y="15"/>
                  </a:cubicBezTo>
                  <a:cubicBezTo>
                    <a:pt x="22" y="11"/>
                    <a:pt x="29" y="16"/>
                    <a:pt x="30" y="19"/>
                  </a:cubicBezTo>
                  <a:cubicBezTo>
                    <a:pt x="32" y="23"/>
                    <a:pt x="35" y="22"/>
                    <a:pt x="37" y="23"/>
                  </a:cubicBezTo>
                  <a:cubicBezTo>
                    <a:pt x="38" y="23"/>
                    <a:pt x="39" y="25"/>
                    <a:pt x="40" y="26"/>
                  </a:cubicBezTo>
                  <a:cubicBezTo>
                    <a:pt x="39" y="28"/>
                    <a:pt x="37" y="30"/>
                    <a:pt x="37" y="32"/>
                  </a:cubicBezTo>
                  <a:cubicBezTo>
                    <a:pt x="37" y="36"/>
                    <a:pt x="41" y="40"/>
                    <a:pt x="45" y="40"/>
                  </a:cubicBezTo>
                  <a:cubicBezTo>
                    <a:pt x="49" y="40"/>
                    <a:pt x="52" y="36"/>
                    <a:pt x="52" y="32"/>
                  </a:cubicBezTo>
                  <a:cubicBezTo>
                    <a:pt x="52" y="29"/>
                    <a:pt x="49" y="25"/>
                    <a:pt x="46" y="25"/>
                  </a:cubicBezTo>
                  <a:cubicBezTo>
                    <a:pt x="45" y="24"/>
                    <a:pt x="45" y="24"/>
                    <a:pt x="45" y="23"/>
                  </a:cubicBezTo>
                  <a:cubicBezTo>
                    <a:pt x="40" y="19"/>
                    <a:pt x="39" y="17"/>
                    <a:pt x="40" y="14"/>
                  </a:cubicBezTo>
                  <a:cubicBezTo>
                    <a:pt x="41" y="10"/>
                    <a:pt x="48" y="9"/>
                    <a:pt x="39" y="3"/>
                  </a:cubicBezTo>
                  <a:cubicBezTo>
                    <a:pt x="37" y="2"/>
                    <a:pt x="36" y="1"/>
                    <a:pt x="35" y="0"/>
                  </a:cubicBezTo>
                  <a:cubicBezTo>
                    <a:pt x="46" y="0"/>
                    <a:pt x="60" y="0"/>
                    <a:pt x="67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100" y="85"/>
                    <a:pt x="100" y="85"/>
                    <a:pt x="100" y="8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74" y="105"/>
                    <a:pt x="74" y="105"/>
                    <a:pt x="74" y="105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6" y="27"/>
                    <a:pt x="13" y="27"/>
                    <a:pt x="16" y="26"/>
                  </a:cubicBezTo>
                  <a:cubicBezTo>
                    <a:pt x="17" y="25"/>
                    <a:pt x="17" y="22"/>
                    <a:pt x="16" y="18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3" name="Freeform 19"/>
            <p:cNvSpPr>
              <a:spLocks/>
            </p:cNvSpPr>
            <p:nvPr/>
          </p:nvSpPr>
          <p:spPr bwMode="auto">
            <a:xfrm>
              <a:off x="1121" y="2980"/>
              <a:ext cx="198" cy="150"/>
            </a:xfrm>
            <a:custGeom>
              <a:avLst/>
              <a:gdLst>
                <a:gd name="T0" fmla="*/ 193 w 198"/>
                <a:gd name="T1" fmla="*/ 150 h 150"/>
                <a:gd name="T2" fmla="*/ 164 w 198"/>
                <a:gd name="T3" fmla="*/ 134 h 150"/>
                <a:gd name="T4" fmla="*/ 164 w 198"/>
                <a:gd name="T5" fmla="*/ 138 h 150"/>
                <a:gd name="T6" fmla="*/ 158 w 198"/>
                <a:gd name="T7" fmla="*/ 142 h 150"/>
                <a:gd name="T8" fmla="*/ 148 w 198"/>
                <a:gd name="T9" fmla="*/ 131 h 150"/>
                <a:gd name="T10" fmla="*/ 137 w 198"/>
                <a:gd name="T11" fmla="*/ 131 h 150"/>
                <a:gd name="T12" fmla="*/ 131 w 198"/>
                <a:gd name="T13" fmla="*/ 121 h 150"/>
                <a:gd name="T14" fmla="*/ 129 w 198"/>
                <a:gd name="T15" fmla="*/ 111 h 150"/>
                <a:gd name="T16" fmla="*/ 114 w 198"/>
                <a:gd name="T17" fmla="*/ 108 h 150"/>
                <a:gd name="T18" fmla="*/ 106 w 198"/>
                <a:gd name="T19" fmla="*/ 117 h 150"/>
                <a:gd name="T20" fmla="*/ 93 w 198"/>
                <a:gd name="T21" fmla="*/ 115 h 150"/>
                <a:gd name="T22" fmla="*/ 85 w 198"/>
                <a:gd name="T23" fmla="*/ 123 h 150"/>
                <a:gd name="T24" fmla="*/ 79 w 198"/>
                <a:gd name="T25" fmla="*/ 123 h 150"/>
                <a:gd name="T26" fmla="*/ 68 w 198"/>
                <a:gd name="T27" fmla="*/ 117 h 150"/>
                <a:gd name="T28" fmla="*/ 52 w 198"/>
                <a:gd name="T29" fmla="*/ 117 h 150"/>
                <a:gd name="T30" fmla="*/ 50 w 198"/>
                <a:gd name="T31" fmla="*/ 111 h 150"/>
                <a:gd name="T32" fmla="*/ 37 w 198"/>
                <a:gd name="T33" fmla="*/ 111 h 150"/>
                <a:gd name="T34" fmla="*/ 31 w 198"/>
                <a:gd name="T35" fmla="*/ 104 h 150"/>
                <a:gd name="T36" fmla="*/ 10 w 198"/>
                <a:gd name="T37" fmla="*/ 100 h 150"/>
                <a:gd name="T38" fmla="*/ 0 w 198"/>
                <a:gd name="T39" fmla="*/ 92 h 150"/>
                <a:gd name="T40" fmla="*/ 2 w 198"/>
                <a:gd name="T41" fmla="*/ 77 h 150"/>
                <a:gd name="T42" fmla="*/ 12 w 198"/>
                <a:gd name="T43" fmla="*/ 75 h 150"/>
                <a:gd name="T44" fmla="*/ 14 w 198"/>
                <a:gd name="T45" fmla="*/ 63 h 150"/>
                <a:gd name="T46" fmla="*/ 27 w 198"/>
                <a:gd name="T47" fmla="*/ 54 h 150"/>
                <a:gd name="T48" fmla="*/ 37 w 198"/>
                <a:gd name="T49" fmla="*/ 42 h 150"/>
                <a:gd name="T50" fmla="*/ 29 w 198"/>
                <a:gd name="T51" fmla="*/ 27 h 150"/>
                <a:gd name="T52" fmla="*/ 33 w 198"/>
                <a:gd name="T53" fmla="*/ 17 h 150"/>
                <a:gd name="T54" fmla="*/ 39 w 198"/>
                <a:gd name="T55" fmla="*/ 11 h 150"/>
                <a:gd name="T56" fmla="*/ 50 w 198"/>
                <a:gd name="T57" fmla="*/ 6 h 150"/>
                <a:gd name="T58" fmla="*/ 50 w 198"/>
                <a:gd name="T59" fmla="*/ 6 h 150"/>
                <a:gd name="T60" fmla="*/ 60 w 198"/>
                <a:gd name="T61" fmla="*/ 8 h 150"/>
                <a:gd name="T62" fmla="*/ 73 w 198"/>
                <a:gd name="T63" fmla="*/ 0 h 150"/>
                <a:gd name="T64" fmla="*/ 75 w 198"/>
                <a:gd name="T65" fmla="*/ 11 h 150"/>
                <a:gd name="T66" fmla="*/ 98 w 198"/>
                <a:gd name="T67" fmla="*/ 11 h 150"/>
                <a:gd name="T68" fmla="*/ 110 w 198"/>
                <a:gd name="T69" fmla="*/ 17 h 150"/>
                <a:gd name="T70" fmla="*/ 118 w 198"/>
                <a:gd name="T71" fmla="*/ 15 h 150"/>
                <a:gd name="T72" fmla="*/ 127 w 198"/>
                <a:gd name="T73" fmla="*/ 8 h 150"/>
                <a:gd name="T74" fmla="*/ 143 w 198"/>
                <a:gd name="T75" fmla="*/ 21 h 150"/>
                <a:gd name="T76" fmla="*/ 139 w 198"/>
                <a:gd name="T77" fmla="*/ 38 h 150"/>
                <a:gd name="T78" fmla="*/ 145 w 198"/>
                <a:gd name="T79" fmla="*/ 44 h 150"/>
                <a:gd name="T80" fmla="*/ 150 w 198"/>
                <a:gd name="T81" fmla="*/ 40 h 150"/>
                <a:gd name="T82" fmla="*/ 164 w 198"/>
                <a:gd name="T83" fmla="*/ 40 h 150"/>
                <a:gd name="T84" fmla="*/ 162 w 198"/>
                <a:gd name="T85" fmla="*/ 48 h 150"/>
                <a:gd name="T86" fmla="*/ 173 w 198"/>
                <a:gd name="T87" fmla="*/ 52 h 150"/>
                <a:gd name="T88" fmla="*/ 164 w 198"/>
                <a:gd name="T89" fmla="*/ 71 h 150"/>
                <a:gd name="T90" fmla="*/ 181 w 198"/>
                <a:gd name="T91" fmla="*/ 77 h 150"/>
                <a:gd name="T92" fmla="*/ 185 w 198"/>
                <a:gd name="T93" fmla="*/ 98 h 150"/>
                <a:gd name="T94" fmla="*/ 177 w 198"/>
                <a:gd name="T95" fmla="*/ 115 h 150"/>
                <a:gd name="T96" fmla="*/ 191 w 198"/>
                <a:gd name="T97" fmla="*/ 123 h 150"/>
                <a:gd name="T98" fmla="*/ 198 w 198"/>
                <a:gd name="T99" fmla="*/ 136 h 150"/>
                <a:gd name="T100" fmla="*/ 193 w 198"/>
                <a:gd name="T101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8" h="150">
                  <a:moveTo>
                    <a:pt x="193" y="150"/>
                  </a:moveTo>
                  <a:lnTo>
                    <a:pt x="164" y="134"/>
                  </a:lnTo>
                  <a:lnTo>
                    <a:pt x="164" y="138"/>
                  </a:lnTo>
                  <a:lnTo>
                    <a:pt x="158" y="142"/>
                  </a:lnTo>
                  <a:lnTo>
                    <a:pt x="148" y="131"/>
                  </a:lnTo>
                  <a:lnTo>
                    <a:pt x="137" y="131"/>
                  </a:lnTo>
                  <a:lnTo>
                    <a:pt x="131" y="121"/>
                  </a:lnTo>
                  <a:lnTo>
                    <a:pt x="129" y="111"/>
                  </a:lnTo>
                  <a:lnTo>
                    <a:pt x="114" y="108"/>
                  </a:lnTo>
                  <a:lnTo>
                    <a:pt x="106" y="117"/>
                  </a:lnTo>
                  <a:lnTo>
                    <a:pt x="93" y="115"/>
                  </a:lnTo>
                  <a:lnTo>
                    <a:pt x="85" y="123"/>
                  </a:lnTo>
                  <a:lnTo>
                    <a:pt x="79" y="123"/>
                  </a:lnTo>
                  <a:lnTo>
                    <a:pt x="68" y="117"/>
                  </a:lnTo>
                  <a:lnTo>
                    <a:pt x="52" y="117"/>
                  </a:lnTo>
                  <a:lnTo>
                    <a:pt x="50" y="111"/>
                  </a:lnTo>
                  <a:lnTo>
                    <a:pt x="37" y="111"/>
                  </a:lnTo>
                  <a:lnTo>
                    <a:pt x="31" y="104"/>
                  </a:lnTo>
                  <a:lnTo>
                    <a:pt x="10" y="100"/>
                  </a:lnTo>
                  <a:lnTo>
                    <a:pt x="0" y="92"/>
                  </a:lnTo>
                  <a:lnTo>
                    <a:pt x="2" y="77"/>
                  </a:lnTo>
                  <a:lnTo>
                    <a:pt x="12" y="75"/>
                  </a:lnTo>
                  <a:lnTo>
                    <a:pt x="14" y="63"/>
                  </a:lnTo>
                  <a:lnTo>
                    <a:pt x="27" y="54"/>
                  </a:lnTo>
                  <a:lnTo>
                    <a:pt x="37" y="42"/>
                  </a:lnTo>
                  <a:lnTo>
                    <a:pt x="29" y="27"/>
                  </a:lnTo>
                  <a:lnTo>
                    <a:pt x="33" y="17"/>
                  </a:lnTo>
                  <a:lnTo>
                    <a:pt x="39" y="11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60" y="8"/>
                  </a:lnTo>
                  <a:lnTo>
                    <a:pt x="73" y="0"/>
                  </a:lnTo>
                  <a:lnTo>
                    <a:pt x="75" y="11"/>
                  </a:lnTo>
                  <a:lnTo>
                    <a:pt x="98" y="11"/>
                  </a:lnTo>
                  <a:lnTo>
                    <a:pt x="110" y="17"/>
                  </a:lnTo>
                  <a:lnTo>
                    <a:pt x="118" y="15"/>
                  </a:lnTo>
                  <a:lnTo>
                    <a:pt x="127" y="8"/>
                  </a:lnTo>
                  <a:lnTo>
                    <a:pt x="143" y="21"/>
                  </a:lnTo>
                  <a:lnTo>
                    <a:pt x="139" y="38"/>
                  </a:lnTo>
                  <a:lnTo>
                    <a:pt x="145" y="44"/>
                  </a:lnTo>
                  <a:lnTo>
                    <a:pt x="150" y="40"/>
                  </a:lnTo>
                  <a:lnTo>
                    <a:pt x="164" y="40"/>
                  </a:lnTo>
                  <a:lnTo>
                    <a:pt x="162" y="48"/>
                  </a:lnTo>
                  <a:lnTo>
                    <a:pt x="173" y="52"/>
                  </a:lnTo>
                  <a:lnTo>
                    <a:pt x="164" y="71"/>
                  </a:lnTo>
                  <a:lnTo>
                    <a:pt x="181" y="77"/>
                  </a:lnTo>
                  <a:lnTo>
                    <a:pt x="185" y="98"/>
                  </a:lnTo>
                  <a:lnTo>
                    <a:pt x="177" y="115"/>
                  </a:lnTo>
                  <a:lnTo>
                    <a:pt x="191" y="123"/>
                  </a:lnTo>
                  <a:lnTo>
                    <a:pt x="198" y="136"/>
                  </a:lnTo>
                  <a:lnTo>
                    <a:pt x="193" y="15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4" name="Freeform 20"/>
            <p:cNvSpPr>
              <a:spLocks/>
            </p:cNvSpPr>
            <p:nvPr/>
          </p:nvSpPr>
          <p:spPr bwMode="auto">
            <a:xfrm>
              <a:off x="1029" y="2911"/>
              <a:ext cx="142" cy="225"/>
            </a:xfrm>
            <a:custGeom>
              <a:avLst/>
              <a:gdLst>
                <a:gd name="T0" fmla="*/ 44 w 68"/>
                <a:gd name="T1" fmla="*/ 77 h 108"/>
                <a:gd name="T2" fmla="*/ 42 w 68"/>
                <a:gd name="T3" fmla="*/ 83 h 108"/>
                <a:gd name="T4" fmla="*/ 37 w 68"/>
                <a:gd name="T5" fmla="*/ 86 h 108"/>
                <a:gd name="T6" fmla="*/ 38 w 68"/>
                <a:gd name="T7" fmla="*/ 93 h 108"/>
                <a:gd name="T8" fmla="*/ 34 w 68"/>
                <a:gd name="T9" fmla="*/ 100 h 108"/>
                <a:gd name="T10" fmla="*/ 29 w 68"/>
                <a:gd name="T11" fmla="*/ 102 h 108"/>
                <a:gd name="T12" fmla="*/ 26 w 68"/>
                <a:gd name="T13" fmla="*/ 108 h 108"/>
                <a:gd name="T14" fmla="*/ 23 w 68"/>
                <a:gd name="T15" fmla="*/ 102 h 108"/>
                <a:gd name="T16" fmla="*/ 18 w 68"/>
                <a:gd name="T17" fmla="*/ 102 h 108"/>
                <a:gd name="T18" fmla="*/ 17 w 68"/>
                <a:gd name="T19" fmla="*/ 95 h 108"/>
                <a:gd name="T20" fmla="*/ 10 w 68"/>
                <a:gd name="T21" fmla="*/ 85 h 108"/>
                <a:gd name="T22" fmla="*/ 8 w 68"/>
                <a:gd name="T23" fmla="*/ 79 h 108"/>
                <a:gd name="T24" fmla="*/ 3 w 68"/>
                <a:gd name="T25" fmla="*/ 69 h 108"/>
                <a:gd name="T26" fmla="*/ 1 w 68"/>
                <a:gd name="T27" fmla="*/ 60 h 108"/>
                <a:gd name="T28" fmla="*/ 11 w 68"/>
                <a:gd name="T29" fmla="*/ 49 h 108"/>
                <a:gd name="T30" fmla="*/ 13 w 68"/>
                <a:gd name="T31" fmla="*/ 37 h 108"/>
                <a:gd name="T32" fmla="*/ 24 w 68"/>
                <a:gd name="T33" fmla="*/ 34 h 108"/>
                <a:gd name="T34" fmla="*/ 26 w 68"/>
                <a:gd name="T35" fmla="*/ 21 h 108"/>
                <a:gd name="T36" fmla="*/ 38 w 68"/>
                <a:gd name="T37" fmla="*/ 20 h 108"/>
                <a:gd name="T38" fmla="*/ 44 w 68"/>
                <a:gd name="T39" fmla="*/ 11 h 108"/>
                <a:gd name="T40" fmla="*/ 56 w 68"/>
                <a:gd name="T41" fmla="*/ 1 h 108"/>
                <a:gd name="T42" fmla="*/ 59 w 68"/>
                <a:gd name="T43" fmla="*/ 0 h 108"/>
                <a:gd name="T44" fmla="*/ 63 w 68"/>
                <a:gd name="T45" fmla="*/ 4 h 108"/>
                <a:gd name="T46" fmla="*/ 61 w 68"/>
                <a:gd name="T47" fmla="*/ 8 h 108"/>
                <a:gd name="T48" fmla="*/ 67 w 68"/>
                <a:gd name="T49" fmla="*/ 15 h 108"/>
                <a:gd name="T50" fmla="*/ 68 w 68"/>
                <a:gd name="T51" fmla="*/ 23 h 108"/>
                <a:gd name="T52" fmla="*/ 66 w 68"/>
                <a:gd name="T53" fmla="*/ 29 h 108"/>
                <a:gd name="T54" fmla="*/ 68 w 68"/>
                <a:gd name="T55" fmla="*/ 36 h 108"/>
                <a:gd name="T56" fmla="*/ 63 w 68"/>
                <a:gd name="T57" fmla="*/ 38 h 108"/>
                <a:gd name="T58" fmla="*/ 60 w 68"/>
                <a:gd name="T59" fmla="*/ 41 h 108"/>
                <a:gd name="T60" fmla="*/ 58 w 68"/>
                <a:gd name="T61" fmla="*/ 46 h 108"/>
                <a:gd name="T62" fmla="*/ 62 w 68"/>
                <a:gd name="T63" fmla="*/ 53 h 108"/>
                <a:gd name="T64" fmla="*/ 57 w 68"/>
                <a:gd name="T65" fmla="*/ 59 h 108"/>
                <a:gd name="T66" fmla="*/ 51 w 68"/>
                <a:gd name="T67" fmla="*/ 63 h 108"/>
                <a:gd name="T68" fmla="*/ 50 w 68"/>
                <a:gd name="T69" fmla="*/ 69 h 108"/>
                <a:gd name="T70" fmla="*/ 45 w 68"/>
                <a:gd name="T71" fmla="*/ 70 h 108"/>
                <a:gd name="T72" fmla="*/ 44 w 68"/>
                <a:gd name="T73" fmla="*/ 7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8" h="108">
                  <a:moveTo>
                    <a:pt x="44" y="77"/>
                  </a:moveTo>
                  <a:cubicBezTo>
                    <a:pt x="42" y="83"/>
                    <a:pt x="42" y="83"/>
                    <a:pt x="42" y="83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29" y="102"/>
                    <a:pt x="29" y="102"/>
                    <a:pt x="29" y="102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8" y="102"/>
                    <a:pt x="18" y="102"/>
                    <a:pt x="18" y="102"/>
                  </a:cubicBezTo>
                  <a:cubicBezTo>
                    <a:pt x="18" y="101"/>
                    <a:pt x="17" y="98"/>
                    <a:pt x="17" y="95"/>
                  </a:cubicBezTo>
                  <a:cubicBezTo>
                    <a:pt x="17" y="88"/>
                    <a:pt x="15" y="86"/>
                    <a:pt x="10" y="85"/>
                  </a:cubicBezTo>
                  <a:cubicBezTo>
                    <a:pt x="6" y="84"/>
                    <a:pt x="5" y="82"/>
                    <a:pt x="8" y="79"/>
                  </a:cubicBezTo>
                  <a:cubicBezTo>
                    <a:pt x="12" y="75"/>
                    <a:pt x="6" y="72"/>
                    <a:pt x="3" y="69"/>
                  </a:cubicBezTo>
                  <a:cubicBezTo>
                    <a:pt x="1" y="66"/>
                    <a:pt x="2" y="62"/>
                    <a:pt x="1" y="60"/>
                  </a:cubicBezTo>
                  <a:cubicBezTo>
                    <a:pt x="0" y="57"/>
                    <a:pt x="7" y="53"/>
                    <a:pt x="11" y="49"/>
                  </a:cubicBezTo>
                  <a:cubicBezTo>
                    <a:pt x="14" y="44"/>
                    <a:pt x="12" y="40"/>
                    <a:pt x="13" y="37"/>
                  </a:cubicBezTo>
                  <a:cubicBezTo>
                    <a:pt x="14" y="35"/>
                    <a:pt x="22" y="36"/>
                    <a:pt x="24" y="34"/>
                  </a:cubicBezTo>
                  <a:cubicBezTo>
                    <a:pt x="25" y="32"/>
                    <a:pt x="26" y="21"/>
                    <a:pt x="26" y="21"/>
                  </a:cubicBezTo>
                  <a:cubicBezTo>
                    <a:pt x="26" y="21"/>
                    <a:pt x="34" y="20"/>
                    <a:pt x="38" y="20"/>
                  </a:cubicBezTo>
                  <a:cubicBezTo>
                    <a:pt x="42" y="19"/>
                    <a:pt x="43" y="16"/>
                    <a:pt x="44" y="11"/>
                  </a:cubicBezTo>
                  <a:cubicBezTo>
                    <a:pt x="44" y="6"/>
                    <a:pt x="50" y="2"/>
                    <a:pt x="56" y="1"/>
                  </a:cubicBezTo>
                  <a:cubicBezTo>
                    <a:pt x="57" y="1"/>
                    <a:pt x="58" y="0"/>
                    <a:pt x="59" y="0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1" y="63"/>
                    <a:pt x="51" y="63"/>
                    <a:pt x="51" y="63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45" y="70"/>
                    <a:pt x="45" y="70"/>
                    <a:pt x="45" y="70"/>
                  </a:cubicBezTo>
                  <a:lnTo>
                    <a:pt x="44" y="7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5" name="Freeform 22"/>
            <p:cNvSpPr>
              <a:spLocks/>
            </p:cNvSpPr>
            <p:nvPr/>
          </p:nvSpPr>
          <p:spPr bwMode="auto">
            <a:xfrm>
              <a:off x="1046" y="3595"/>
              <a:ext cx="256" cy="237"/>
            </a:xfrm>
            <a:custGeom>
              <a:avLst/>
              <a:gdLst>
                <a:gd name="T0" fmla="*/ 123 w 123"/>
                <a:gd name="T1" fmla="*/ 83 h 114"/>
                <a:gd name="T2" fmla="*/ 120 w 123"/>
                <a:gd name="T3" fmla="*/ 87 h 114"/>
                <a:gd name="T4" fmla="*/ 108 w 123"/>
                <a:gd name="T5" fmla="*/ 92 h 114"/>
                <a:gd name="T6" fmla="*/ 101 w 123"/>
                <a:gd name="T7" fmla="*/ 108 h 114"/>
                <a:gd name="T8" fmla="*/ 87 w 123"/>
                <a:gd name="T9" fmla="*/ 114 h 114"/>
                <a:gd name="T10" fmla="*/ 83 w 123"/>
                <a:gd name="T11" fmla="*/ 104 h 114"/>
                <a:gd name="T12" fmla="*/ 72 w 123"/>
                <a:gd name="T13" fmla="*/ 105 h 114"/>
                <a:gd name="T14" fmla="*/ 65 w 123"/>
                <a:gd name="T15" fmla="*/ 103 h 114"/>
                <a:gd name="T16" fmla="*/ 64 w 123"/>
                <a:gd name="T17" fmla="*/ 101 h 114"/>
                <a:gd name="T18" fmla="*/ 54 w 123"/>
                <a:gd name="T19" fmla="*/ 102 h 114"/>
                <a:gd name="T20" fmla="*/ 51 w 123"/>
                <a:gd name="T21" fmla="*/ 108 h 114"/>
                <a:gd name="T22" fmla="*/ 47 w 123"/>
                <a:gd name="T23" fmla="*/ 107 h 114"/>
                <a:gd name="T24" fmla="*/ 42 w 123"/>
                <a:gd name="T25" fmla="*/ 104 h 114"/>
                <a:gd name="T26" fmla="*/ 42 w 123"/>
                <a:gd name="T27" fmla="*/ 97 h 114"/>
                <a:gd name="T28" fmla="*/ 39 w 123"/>
                <a:gd name="T29" fmla="*/ 96 h 114"/>
                <a:gd name="T30" fmla="*/ 37 w 123"/>
                <a:gd name="T31" fmla="*/ 101 h 114"/>
                <a:gd name="T32" fmla="*/ 35 w 123"/>
                <a:gd name="T33" fmla="*/ 106 h 114"/>
                <a:gd name="T34" fmla="*/ 31 w 123"/>
                <a:gd name="T35" fmla="*/ 103 h 114"/>
                <a:gd name="T36" fmla="*/ 24 w 123"/>
                <a:gd name="T37" fmla="*/ 104 h 114"/>
                <a:gd name="T38" fmla="*/ 20 w 123"/>
                <a:gd name="T39" fmla="*/ 101 h 114"/>
                <a:gd name="T40" fmla="*/ 15 w 123"/>
                <a:gd name="T41" fmla="*/ 106 h 114"/>
                <a:gd name="T42" fmla="*/ 15 w 123"/>
                <a:gd name="T43" fmla="*/ 106 h 114"/>
                <a:gd name="T44" fmla="*/ 14 w 123"/>
                <a:gd name="T45" fmla="*/ 104 h 114"/>
                <a:gd name="T46" fmla="*/ 9 w 123"/>
                <a:gd name="T47" fmla="*/ 97 h 114"/>
                <a:gd name="T48" fmla="*/ 9 w 123"/>
                <a:gd name="T49" fmla="*/ 89 h 114"/>
                <a:gd name="T50" fmla="*/ 8 w 123"/>
                <a:gd name="T51" fmla="*/ 80 h 114"/>
                <a:gd name="T52" fmla="*/ 2 w 123"/>
                <a:gd name="T53" fmla="*/ 75 h 114"/>
                <a:gd name="T54" fmla="*/ 6 w 123"/>
                <a:gd name="T55" fmla="*/ 69 h 114"/>
                <a:gd name="T56" fmla="*/ 12 w 123"/>
                <a:gd name="T57" fmla="*/ 65 h 114"/>
                <a:gd name="T58" fmla="*/ 18 w 123"/>
                <a:gd name="T59" fmla="*/ 69 h 114"/>
                <a:gd name="T60" fmla="*/ 25 w 123"/>
                <a:gd name="T61" fmla="*/ 66 h 114"/>
                <a:gd name="T62" fmla="*/ 27 w 123"/>
                <a:gd name="T63" fmla="*/ 56 h 114"/>
                <a:gd name="T64" fmla="*/ 25 w 123"/>
                <a:gd name="T65" fmla="*/ 46 h 114"/>
                <a:gd name="T66" fmla="*/ 34 w 123"/>
                <a:gd name="T67" fmla="*/ 36 h 114"/>
                <a:gd name="T68" fmla="*/ 35 w 123"/>
                <a:gd name="T69" fmla="*/ 31 h 114"/>
                <a:gd name="T70" fmla="*/ 30 w 123"/>
                <a:gd name="T71" fmla="*/ 19 h 114"/>
                <a:gd name="T72" fmla="*/ 31 w 123"/>
                <a:gd name="T73" fmla="*/ 19 h 114"/>
                <a:gd name="T74" fmla="*/ 40 w 123"/>
                <a:gd name="T75" fmla="*/ 8 h 114"/>
                <a:gd name="T76" fmla="*/ 40 w 123"/>
                <a:gd name="T77" fmla="*/ 3 h 114"/>
                <a:gd name="T78" fmla="*/ 51 w 123"/>
                <a:gd name="T79" fmla="*/ 3 h 114"/>
                <a:gd name="T80" fmla="*/ 56 w 123"/>
                <a:gd name="T81" fmla="*/ 0 h 114"/>
                <a:gd name="T82" fmla="*/ 62 w 123"/>
                <a:gd name="T83" fmla="*/ 3 h 114"/>
                <a:gd name="T84" fmla="*/ 67 w 123"/>
                <a:gd name="T85" fmla="*/ 6 h 114"/>
                <a:gd name="T86" fmla="*/ 73 w 123"/>
                <a:gd name="T87" fmla="*/ 7 h 114"/>
                <a:gd name="T88" fmla="*/ 75 w 123"/>
                <a:gd name="T89" fmla="*/ 21 h 114"/>
                <a:gd name="T90" fmla="*/ 81 w 123"/>
                <a:gd name="T91" fmla="*/ 22 h 114"/>
                <a:gd name="T92" fmla="*/ 87 w 123"/>
                <a:gd name="T93" fmla="*/ 25 h 114"/>
                <a:gd name="T94" fmla="*/ 88 w 123"/>
                <a:gd name="T95" fmla="*/ 29 h 114"/>
                <a:gd name="T96" fmla="*/ 92 w 123"/>
                <a:gd name="T97" fmla="*/ 27 h 114"/>
                <a:gd name="T98" fmla="*/ 103 w 123"/>
                <a:gd name="T99" fmla="*/ 37 h 114"/>
                <a:gd name="T100" fmla="*/ 102 w 123"/>
                <a:gd name="T101" fmla="*/ 45 h 114"/>
                <a:gd name="T102" fmla="*/ 97 w 123"/>
                <a:gd name="T103" fmla="*/ 51 h 114"/>
                <a:gd name="T104" fmla="*/ 101 w 123"/>
                <a:gd name="T105" fmla="*/ 56 h 114"/>
                <a:gd name="T106" fmla="*/ 105 w 123"/>
                <a:gd name="T107" fmla="*/ 54 h 114"/>
                <a:gd name="T108" fmla="*/ 110 w 123"/>
                <a:gd name="T109" fmla="*/ 56 h 114"/>
                <a:gd name="T110" fmla="*/ 110 w 123"/>
                <a:gd name="T111" fmla="*/ 62 h 114"/>
                <a:gd name="T112" fmla="*/ 113 w 123"/>
                <a:gd name="T113" fmla="*/ 64 h 114"/>
                <a:gd name="T114" fmla="*/ 118 w 123"/>
                <a:gd name="T115" fmla="*/ 65 h 114"/>
                <a:gd name="T116" fmla="*/ 119 w 123"/>
                <a:gd name="T117" fmla="*/ 70 h 114"/>
                <a:gd name="T118" fmla="*/ 122 w 123"/>
                <a:gd name="T119" fmla="*/ 73 h 114"/>
                <a:gd name="T120" fmla="*/ 123 w 123"/>
                <a:gd name="T121" fmla="*/ 8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4">
                  <a:moveTo>
                    <a:pt x="123" y="83"/>
                  </a:moveTo>
                  <a:cubicBezTo>
                    <a:pt x="122" y="84"/>
                    <a:pt x="121" y="86"/>
                    <a:pt x="120" y="87"/>
                  </a:cubicBezTo>
                  <a:cubicBezTo>
                    <a:pt x="115" y="92"/>
                    <a:pt x="113" y="88"/>
                    <a:pt x="108" y="92"/>
                  </a:cubicBezTo>
                  <a:cubicBezTo>
                    <a:pt x="103" y="96"/>
                    <a:pt x="104" y="102"/>
                    <a:pt x="101" y="108"/>
                  </a:cubicBezTo>
                  <a:cubicBezTo>
                    <a:pt x="99" y="113"/>
                    <a:pt x="93" y="110"/>
                    <a:pt x="87" y="11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4" y="101"/>
                    <a:pt x="64" y="101"/>
                    <a:pt x="64" y="101"/>
                  </a:cubicBezTo>
                  <a:cubicBezTo>
                    <a:pt x="54" y="102"/>
                    <a:pt x="54" y="102"/>
                    <a:pt x="54" y="102"/>
                  </a:cubicBezTo>
                  <a:cubicBezTo>
                    <a:pt x="51" y="108"/>
                    <a:pt x="51" y="108"/>
                    <a:pt x="51" y="108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39" y="96"/>
                    <a:pt x="39" y="96"/>
                    <a:pt x="39" y="96"/>
                  </a:cubicBezTo>
                  <a:cubicBezTo>
                    <a:pt x="37" y="101"/>
                    <a:pt x="37" y="101"/>
                    <a:pt x="37" y="101"/>
                  </a:cubicBezTo>
                  <a:cubicBezTo>
                    <a:pt x="35" y="106"/>
                    <a:pt x="35" y="106"/>
                    <a:pt x="35" y="106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24" y="104"/>
                    <a:pt x="24" y="104"/>
                    <a:pt x="24" y="104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5"/>
                    <a:pt x="15" y="104"/>
                    <a:pt x="14" y="104"/>
                  </a:cubicBezTo>
                  <a:cubicBezTo>
                    <a:pt x="13" y="104"/>
                    <a:pt x="9" y="100"/>
                    <a:pt x="9" y="97"/>
                  </a:cubicBezTo>
                  <a:cubicBezTo>
                    <a:pt x="8" y="94"/>
                    <a:pt x="8" y="92"/>
                    <a:pt x="9" y="89"/>
                  </a:cubicBezTo>
                  <a:cubicBezTo>
                    <a:pt x="10" y="86"/>
                    <a:pt x="10" y="82"/>
                    <a:pt x="8" y="80"/>
                  </a:cubicBezTo>
                  <a:cubicBezTo>
                    <a:pt x="5" y="78"/>
                    <a:pt x="0" y="77"/>
                    <a:pt x="2" y="75"/>
                  </a:cubicBezTo>
                  <a:cubicBezTo>
                    <a:pt x="3" y="74"/>
                    <a:pt x="6" y="72"/>
                    <a:pt x="6" y="69"/>
                  </a:cubicBezTo>
                  <a:cubicBezTo>
                    <a:pt x="6" y="66"/>
                    <a:pt x="11" y="64"/>
                    <a:pt x="12" y="65"/>
                  </a:cubicBezTo>
                  <a:cubicBezTo>
                    <a:pt x="13" y="66"/>
                    <a:pt x="13" y="69"/>
                    <a:pt x="18" y="69"/>
                  </a:cubicBezTo>
                  <a:cubicBezTo>
                    <a:pt x="23" y="69"/>
                    <a:pt x="22" y="70"/>
                    <a:pt x="25" y="66"/>
                  </a:cubicBezTo>
                  <a:cubicBezTo>
                    <a:pt x="27" y="61"/>
                    <a:pt x="29" y="59"/>
                    <a:pt x="27" y="56"/>
                  </a:cubicBezTo>
                  <a:cubicBezTo>
                    <a:pt x="26" y="52"/>
                    <a:pt x="23" y="48"/>
                    <a:pt x="25" y="46"/>
                  </a:cubicBezTo>
                  <a:cubicBezTo>
                    <a:pt x="27" y="44"/>
                    <a:pt x="33" y="38"/>
                    <a:pt x="34" y="36"/>
                  </a:cubicBezTo>
                  <a:cubicBezTo>
                    <a:pt x="35" y="34"/>
                    <a:pt x="36" y="33"/>
                    <a:pt x="35" y="31"/>
                  </a:cubicBezTo>
                  <a:cubicBezTo>
                    <a:pt x="33" y="29"/>
                    <a:pt x="31" y="22"/>
                    <a:pt x="30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41" y="11"/>
                    <a:pt x="40" y="8"/>
                  </a:cubicBezTo>
                  <a:cubicBezTo>
                    <a:pt x="40" y="6"/>
                    <a:pt x="40" y="3"/>
                    <a:pt x="40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3"/>
                    <a:pt x="53" y="0"/>
                    <a:pt x="56" y="0"/>
                  </a:cubicBezTo>
                  <a:cubicBezTo>
                    <a:pt x="58" y="0"/>
                    <a:pt x="62" y="0"/>
                    <a:pt x="62" y="3"/>
                  </a:cubicBezTo>
                  <a:cubicBezTo>
                    <a:pt x="62" y="5"/>
                    <a:pt x="66" y="6"/>
                    <a:pt x="67" y="6"/>
                  </a:cubicBezTo>
                  <a:cubicBezTo>
                    <a:pt x="67" y="6"/>
                    <a:pt x="73" y="7"/>
                    <a:pt x="73" y="7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9" y="20"/>
                    <a:pt x="81" y="22"/>
                  </a:cubicBezTo>
                  <a:cubicBezTo>
                    <a:pt x="84" y="24"/>
                    <a:pt x="87" y="25"/>
                    <a:pt x="87" y="25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10" y="62"/>
                    <a:pt x="110" y="62"/>
                    <a:pt x="110" y="62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19" y="70"/>
                    <a:pt x="119" y="70"/>
                    <a:pt x="119" y="70"/>
                  </a:cubicBezTo>
                  <a:cubicBezTo>
                    <a:pt x="122" y="73"/>
                    <a:pt x="122" y="73"/>
                    <a:pt x="122" y="73"/>
                  </a:cubicBezTo>
                  <a:lnTo>
                    <a:pt x="123" y="8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6" name="Freeform 23"/>
            <p:cNvSpPr>
              <a:spLocks noEditPoints="1"/>
            </p:cNvSpPr>
            <p:nvPr/>
          </p:nvSpPr>
          <p:spPr bwMode="auto">
            <a:xfrm>
              <a:off x="1133" y="3805"/>
              <a:ext cx="115" cy="213"/>
            </a:xfrm>
            <a:custGeom>
              <a:avLst/>
              <a:gdLst>
                <a:gd name="T0" fmla="*/ 45 w 55"/>
                <a:gd name="T1" fmla="*/ 13 h 102"/>
                <a:gd name="T2" fmla="*/ 44 w 55"/>
                <a:gd name="T3" fmla="*/ 13 h 102"/>
                <a:gd name="T4" fmla="*/ 45 w 55"/>
                <a:gd name="T5" fmla="*/ 29 h 102"/>
                <a:gd name="T6" fmla="*/ 40 w 55"/>
                <a:gd name="T7" fmla="*/ 39 h 102"/>
                <a:gd name="T8" fmla="*/ 51 w 55"/>
                <a:gd name="T9" fmla="*/ 46 h 102"/>
                <a:gd name="T10" fmla="*/ 54 w 55"/>
                <a:gd name="T11" fmla="*/ 58 h 102"/>
                <a:gd name="T12" fmla="*/ 53 w 55"/>
                <a:gd name="T13" fmla="*/ 76 h 102"/>
                <a:gd name="T14" fmla="*/ 47 w 55"/>
                <a:gd name="T15" fmla="*/ 83 h 102"/>
                <a:gd name="T16" fmla="*/ 44 w 55"/>
                <a:gd name="T17" fmla="*/ 85 h 102"/>
                <a:gd name="T18" fmla="*/ 49 w 55"/>
                <a:gd name="T19" fmla="*/ 98 h 102"/>
                <a:gd name="T20" fmla="*/ 41 w 55"/>
                <a:gd name="T21" fmla="*/ 100 h 102"/>
                <a:gd name="T22" fmla="*/ 31 w 55"/>
                <a:gd name="T23" fmla="*/ 102 h 102"/>
                <a:gd name="T24" fmla="*/ 24 w 55"/>
                <a:gd name="T25" fmla="*/ 100 h 102"/>
                <a:gd name="T26" fmla="*/ 13 w 55"/>
                <a:gd name="T27" fmla="*/ 97 h 102"/>
                <a:gd name="T28" fmla="*/ 6 w 55"/>
                <a:gd name="T29" fmla="*/ 94 h 102"/>
                <a:gd name="T30" fmla="*/ 6 w 55"/>
                <a:gd name="T31" fmla="*/ 94 h 102"/>
                <a:gd name="T32" fmla="*/ 6 w 55"/>
                <a:gd name="T33" fmla="*/ 81 h 102"/>
                <a:gd name="T34" fmla="*/ 5 w 55"/>
                <a:gd name="T35" fmla="*/ 77 h 102"/>
                <a:gd name="T36" fmla="*/ 2 w 55"/>
                <a:gd name="T37" fmla="*/ 71 h 102"/>
                <a:gd name="T38" fmla="*/ 3 w 55"/>
                <a:gd name="T39" fmla="*/ 67 h 102"/>
                <a:gd name="T40" fmla="*/ 6 w 55"/>
                <a:gd name="T41" fmla="*/ 66 h 102"/>
                <a:gd name="T42" fmla="*/ 11 w 55"/>
                <a:gd name="T43" fmla="*/ 68 h 102"/>
                <a:gd name="T44" fmla="*/ 11 w 55"/>
                <a:gd name="T45" fmla="*/ 66 h 102"/>
                <a:gd name="T46" fmla="*/ 18 w 55"/>
                <a:gd name="T47" fmla="*/ 65 h 102"/>
                <a:gd name="T48" fmla="*/ 20 w 55"/>
                <a:gd name="T49" fmla="*/ 61 h 102"/>
                <a:gd name="T50" fmla="*/ 18 w 55"/>
                <a:gd name="T51" fmla="*/ 59 h 102"/>
                <a:gd name="T52" fmla="*/ 18 w 55"/>
                <a:gd name="T53" fmla="*/ 57 h 102"/>
                <a:gd name="T54" fmla="*/ 19 w 55"/>
                <a:gd name="T55" fmla="*/ 54 h 102"/>
                <a:gd name="T56" fmla="*/ 20 w 55"/>
                <a:gd name="T57" fmla="*/ 49 h 102"/>
                <a:gd name="T58" fmla="*/ 24 w 55"/>
                <a:gd name="T59" fmla="*/ 45 h 102"/>
                <a:gd name="T60" fmla="*/ 25 w 55"/>
                <a:gd name="T61" fmla="*/ 39 h 102"/>
                <a:gd name="T62" fmla="*/ 18 w 55"/>
                <a:gd name="T63" fmla="*/ 40 h 102"/>
                <a:gd name="T64" fmla="*/ 14 w 55"/>
                <a:gd name="T65" fmla="*/ 34 h 102"/>
                <a:gd name="T66" fmla="*/ 13 w 55"/>
                <a:gd name="T67" fmla="*/ 25 h 102"/>
                <a:gd name="T68" fmla="*/ 16 w 55"/>
                <a:gd name="T69" fmla="*/ 18 h 102"/>
                <a:gd name="T70" fmla="*/ 13 w 55"/>
                <a:gd name="T71" fmla="*/ 16 h 102"/>
                <a:gd name="T72" fmla="*/ 10 w 55"/>
                <a:gd name="T73" fmla="*/ 7 h 102"/>
                <a:gd name="T74" fmla="*/ 9 w 55"/>
                <a:gd name="T75" fmla="*/ 7 h 102"/>
                <a:gd name="T76" fmla="*/ 12 w 55"/>
                <a:gd name="T77" fmla="*/ 1 h 102"/>
                <a:gd name="T78" fmla="*/ 22 w 55"/>
                <a:gd name="T79" fmla="*/ 0 h 102"/>
                <a:gd name="T80" fmla="*/ 23 w 55"/>
                <a:gd name="T81" fmla="*/ 2 h 102"/>
                <a:gd name="T82" fmla="*/ 30 w 55"/>
                <a:gd name="T83" fmla="*/ 4 h 102"/>
                <a:gd name="T84" fmla="*/ 41 w 55"/>
                <a:gd name="T85" fmla="*/ 3 h 102"/>
                <a:gd name="T86" fmla="*/ 45 w 55"/>
                <a:gd name="T87" fmla="*/ 13 h 102"/>
                <a:gd name="T88" fmla="*/ 0 w 55"/>
                <a:gd name="T89" fmla="*/ 100 h 102"/>
                <a:gd name="T90" fmla="*/ 0 w 55"/>
                <a:gd name="T91" fmla="*/ 100 h 102"/>
                <a:gd name="T92" fmla="*/ 0 w 55"/>
                <a:gd name="T93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5" h="102">
                  <a:moveTo>
                    <a:pt x="45" y="13"/>
                  </a:moveTo>
                  <a:cubicBezTo>
                    <a:pt x="44" y="13"/>
                    <a:pt x="44" y="13"/>
                    <a:pt x="44" y="13"/>
                  </a:cubicBezTo>
                  <a:cubicBezTo>
                    <a:pt x="37" y="18"/>
                    <a:pt x="42" y="23"/>
                    <a:pt x="45" y="29"/>
                  </a:cubicBezTo>
                  <a:cubicBezTo>
                    <a:pt x="47" y="35"/>
                    <a:pt x="38" y="35"/>
                    <a:pt x="40" y="39"/>
                  </a:cubicBezTo>
                  <a:cubicBezTo>
                    <a:pt x="41" y="44"/>
                    <a:pt x="48" y="44"/>
                    <a:pt x="51" y="46"/>
                  </a:cubicBezTo>
                  <a:cubicBezTo>
                    <a:pt x="55" y="48"/>
                    <a:pt x="54" y="54"/>
                    <a:pt x="54" y="58"/>
                  </a:cubicBezTo>
                  <a:cubicBezTo>
                    <a:pt x="54" y="62"/>
                    <a:pt x="53" y="65"/>
                    <a:pt x="53" y="76"/>
                  </a:cubicBezTo>
                  <a:cubicBezTo>
                    <a:pt x="53" y="87"/>
                    <a:pt x="48" y="85"/>
                    <a:pt x="47" y="83"/>
                  </a:cubicBezTo>
                  <a:cubicBezTo>
                    <a:pt x="47" y="81"/>
                    <a:pt x="41" y="79"/>
                    <a:pt x="44" y="85"/>
                  </a:cubicBezTo>
                  <a:cubicBezTo>
                    <a:pt x="46" y="88"/>
                    <a:pt x="48" y="94"/>
                    <a:pt x="49" y="98"/>
                  </a:cubicBezTo>
                  <a:cubicBezTo>
                    <a:pt x="47" y="100"/>
                    <a:pt x="43" y="100"/>
                    <a:pt x="41" y="100"/>
                  </a:cubicBezTo>
                  <a:cubicBezTo>
                    <a:pt x="38" y="99"/>
                    <a:pt x="36" y="101"/>
                    <a:pt x="31" y="102"/>
                  </a:cubicBezTo>
                  <a:cubicBezTo>
                    <a:pt x="27" y="102"/>
                    <a:pt x="32" y="100"/>
                    <a:pt x="24" y="100"/>
                  </a:cubicBezTo>
                  <a:cubicBezTo>
                    <a:pt x="17" y="99"/>
                    <a:pt x="15" y="99"/>
                    <a:pt x="13" y="97"/>
                  </a:cubicBezTo>
                  <a:cubicBezTo>
                    <a:pt x="11" y="95"/>
                    <a:pt x="11" y="93"/>
                    <a:pt x="6" y="94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5" y="13"/>
                    <a:pt x="45" y="13"/>
                    <a:pt x="45" y="13"/>
                  </a:cubicBezTo>
                  <a:close/>
                  <a:moveTo>
                    <a:pt x="0" y="10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00"/>
                    <a:pt x="0" y="100"/>
                    <a:pt x="0" y="10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7" name="Freeform 24"/>
            <p:cNvSpPr>
              <a:spLocks/>
            </p:cNvSpPr>
            <p:nvPr/>
          </p:nvSpPr>
          <p:spPr bwMode="auto">
            <a:xfrm>
              <a:off x="889" y="3622"/>
              <a:ext cx="232" cy="254"/>
            </a:xfrm>
            <a:custGeom>
              <a:avLst/>
              <a:gdLst>
                <a:gd name="T0" fmla="*/ 31 w 111"/>
                <a:gd name="T1" fmla="*/ 101 h 122"/>
                <a:gd name="T2" fmla="*/ 27 w 111"/>
                <a:gd name="T3" fmla="*/ 99 h 122"/>
                <a:gd name="T4" fmla="*/ 27 w 111"/>
                <a:gd name="T5" fmla="*/ 100 h 122"/>
                <a:gd name="T6" fmla="*/ 28 w 111"/>
                <a:gd name="T7" fmla="*/ 88 h 122"/>
                <a:gd name="T8" fmla="*/ 17 w 111"/>
                <a:gd name="T9" fmla="*/ 76 h 122"/>
                <a:gd name="T10" fmla="*/ 19 w 111"/>
                <a:gd name="T11" fmla="*/ 68 h 122"/>
                <a:gd name="T12" fmla="*/ 21 w 111"/>
                <a:gd name="T13" fmla="*/ 64 h 122"/>
                <a:gd name="T14" fmla="*/ 11 w 111"/>
                <a:gd name="T15" fmla="*/ 54 h 122"/>
                <a:gd name="T16" fmla="*/ 3 w 111"/>
                <a:gd name="T17" fmla="*/ 53 h 122"/>
                <a:gd name="T18" fmla="*/ 0 w 111"/>
                <a:gd name="T19" fmla="*/ 36 h 122"/>
                <a:gd name="T20" fmla="*/ 7 w 111"/>
                <a:gd name="T21" fmla="*/ 41 h 122"/>
                <a:gd name="T22" fmla="*/ 19 w 111"/>
                <a:gd name="T23" fmla="*/ 42 h 122"/>
                <a:gd name="T24" fmla="*/ 6 w 111"/>
                <a:gd name="T25" fmla="*/ 32 h 122"/>
                <a:gd name="T26" fmla="*/ 4 w 111"/>
                <a:gd name="T27" fmla="*/ 31 h 122"/>
                <a:gd name="T28" fmla="*/ 9 w 111"/>
                <a:gd name="T29" fmla="*/ 25 h 122"/>
                <a:gd name="T30" fmla="*/ 16 w 111"/>
                <a:gd name="T31" fmla="*/ 22 h 122"/>
                <a:gd name="T32" fmla="*/ 24 w 111"/>
                <a:gd name="T33" fmla="*/ 24 h 122"/>
                <a:gd name="T34" fmla="*/ 33 w 111"/>
                <a:gd name="T35" fmla="*/ 28 h 122"/>
                <a:gd name="T36" fmla="*/ 41 w 111"/>
                <a:gd name="T37" fmla="*/ 35 h 122"/>
                <a:gd name="T38" fmla="*/ 51 w 111"/>
                <a:gd name="T39" fmla="*/ 27 h 122"/>
                <a:gd name="T40" fmla="*/ 57 w 111"/>
                <a:gd name="T41" fmla="*/ 17 h 122"/>
                <a:gd name="T42" fmla="*/ 62 w 111"/>
                <a:gd name="T43" fmla="*/ 11 h 122"/>
                <a:gd name="T44" fmla="*/ 71 w 111"/>
                <a:gd name="T45" fmla="*/ 10 h 122"/>
                <a:gd name="T46" fmla="*/ 77 w 111"/>
                <a:gd name="T47" fmla="*/ 4 h 122"/>
                <a:gd name="T48" fmla="*/ 77 w 111"/>
                <a:gd name="T49" fmla="*/ 1 h 122"/>
                <a:gd name="T50" fmla="*/ 80 w 111"/>
                <a:gd name="T51" fmla="*/ 0 h 122"/>
                <a:gd name="T52" fmla="*/ 81 w 111"/>
                <a:gd name="T53" fmla="*/ 5 h 122"/>
                <a:gd name="T54" fmla="*/ 87 w 111"/>
                <a:gd name="T55" fmla="*/ 6 h 122"/>
                <a:gd name="T56" fmla="*/ 90 w 111"/>
                <a:gd name="T57" fmla="*/ 10 h 122"/>
                <a:gd name="T58" fmla="*/ 95 w 111"/>
                <a:gd name="T59" fmla="*/ 8 h 122"/>
                <a:gd name="T60" fmla="*/ 97 w 111"/>
                <a:gd name="T61" fmla="*/ 6 h 122"/>
                <a:gd name="T62" fmla="*/ 105 w 111"/>
                <a:gd name="T63" fmla="*/ 6 h 122"/>
                <a:gd name="T64" fmla="*/ 110 w 111"/>
                <a:gd name="T65" fmla="*/ 18 h 122"/>
                <a:gd name="T66" fmla="*/ 109 w 111"/>
                <a:gd name="T67" fmla="*/ 23 h 122"/>
                <a:gd name="T68" fmla="*/ 100 w 111"/>
                <a:gd name="T69" fmla="*/ 33 h 122"/>
                <a:gd name="T70" fmla="*/ 102 w 111"/>
                <a:gd name="T71" fmla="*/ 43 h 122"/>
                <a:gd name="T72" fmla="*/ 100 w 111"/>
                <a:gd name="T73" fmla="*/ 53 h 122"/>
                <a:gd name="T74" fmla="*/ 93 w 111"/>
                <a:gd name="T75" fmla="*/ 56 h 122"/>
                <a:gd name="T76" fmla="*/ 87 w 111"/>
                <a:gd name="T77" fmla="*/ 52 h 122"/>
                <a:gd name="T78" fmla="*/ 81 w 111"/>
                <a:gd name="T79" fmla="*/ 56 h 122"/>
                <a:gd name="T80" fmla="*/ 77 w 111"/>
                <a:gd name="T81" fmla="*/ 62 h 122"/>
                <a:gd name="T82" fmla="*/ 83 w 111"/>
                <a:gd name="T83" fmla="*/ 67 h 122"/>
                <a:gd name="T84" fmla="*/ 84 w 111"/>
                <a:gd name="T85" fmla="*/ 76 h 122"/>
                <a:gd name="T86" fmla="*/ 84 w 111"/>
                <a:gd name="T87" fmla="*/ 84 h 122"/>
                <a:gd name="T88" fmla="*/ 89 w 111"/>
                <a:gd name="T89" fmla="*/ 91 h 122"/>
                <a:gd name="T90" fmla="*/ 91 w 111"/>
                <a:gd name="T91" fmla="*/ 99 h 122"/>
                <a:gd name="T92" fmla="*/ 95 w 111"/>
                <a:gd name="T93" fmla="*/ 100 h 122"/>
                <a:gd name="T94" fmla="*/ 100 w 111"/>
                <a:gd name="T95" fmla="*/ 101 h 122"/>
                <a:gd name="T96" fmla="*/ 96 w 111"/>
                <a:gd name="T97" fmla="*/ 109 h 122"/>
                <a:gd name="T98" fmla="*/ 86 w 111"/>
                <a:gd name="T99" fmla="*/ 114 h 122"/>
                <a:gd name="T100" fmla="*/ 79 w 111"/>
                <a:gd name="T101" fmla="*/ 116 h 122"/>
                <a:gd name="T102" fmla="*/ 74 w 111"/>
                <a:gd name="T103" fmla="*/ 121 h 122"/>
                <a:gd name="T104" fmla="*/ 65 w 111"/>
                <a:gd name="T105" fmla="*/ 119 h 122"/>
                <a:gd name="T106" fmla="*/ 61 w 111"/>
                <a:gd name="T107" fmla="*/ 107 h 122"/>
                <a:gd name="T108" fmla="*/ 54 w 111"/>
                <a:gd name="T109" fmla="*/ 104 h 122"/>
                <a:gd name="T110" fmla="*/ 53 w 111"/>
                <a:gd name="T111" fmla="*/ 96 h 122"/>
                <a:gd name="T112" fmla="*/ 48 w 111"/>
                <a:gd name="T113" fmla="*/ 98 h 122"/>
                <a:gd name="T114" fmla="*/ 41 w 111"/>
                <a:gd name="T115" fmla="*/ 100 h 122"/>
                <a:gd name="T116" fmla="*/ 35 w 111"/>
                <a:gd name="T117" fmla="*/ 99 h 122"/>
                <a:gd name="T118" fmla="*/ 31 w 111"/>
                <a:gd name="T119" fmla="*/ 10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1" h="122">
                  <a:moveTo>
                    <a:pt x="31" y="101"/>
                  </a:moveTo>
                  <a:cubicBezTo>
                    <a:pt x="30" y="100"/>
                    <a:pt x="29" y="99"/>
                    <a:pt x="27" y="99"/>
                  </a:cubicBezTo>
                  <a:cubicBezTo>
                    <a:pt x="27" y="99"/>
                    <a:pt x="27" y="99"/>
                    <a:pt x="27" y="100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8" y="88"/>
                    <a:pt x="16" y="76"/>
                    <a:pt x="17" y="76"/>
                  </a:cubicBezTo>
                  <a:cubicBezTo>
                    <a:pt x="19" y="76"/>
                    <a:pt x="19" y="69"/>
                    <a:pt x="19" y="68"/>
                  </a:cubicBezTo>
                  <a:cubicBezTo>
                    <a:pt x="19" y="67"/>
                    <a:pt x="21" y="64"/>
                    <a:pt x="21" y="64"/>
                  </a:cubicBezTo>
                  <a:cubicBezTo>
                    <a:pt x="21" y="64"/>
                    <a:pt x="14" y="53"/>
                    <a:pt x="11" y="54"/>
                  </a:cubicBezTo>
                  <a:cubicBezTo>
                    <a:pt x="9" y="55"/>
                    <a:pt x="4" y="55"/>
                    <a:pt x="3" y="53"/>
                  </a:cubicBezTo>
                  <a:cubicBezTo>
                    <a:pt x="3" y="52"/>
                    <a:pt x="1" y="41"/>
                    <a:pt x="0" y="36"/>
                  </a:cubicBezTo>
                  <a:cubicBezTo>
                    <a:pt x="2" y="36"/>
                    <a:pt x="5" y="40"/>
                    <a:pt x="7" y="41"/>
                  </a:cubicBezTo>
                  <a:cubicBezTo>
                    <a:pt x="9" y="42"/>
                    <a:pt x="18" y="46"/>
                    <a:pt x="19" y="42"/>
                  </a:cubicBezTo>
                  <a:cubicBezTo>
                    <a:pt x="19" y="39"/>
                    <a:pt x="10" y="34"/>
                    <a:pt x="6" y="32"/>
                  </a:cubicBezTo>
                  <a:cubicBezTo>
                    <a:pt x="5" y="32"/>
                    <a:pt x="5" y="32"/>
                    <a:pt x="4" y="31"/>
                  </a:cubicBezTo>
                  <a:cubicBezTo>
                    <a:pt x="6" y="29"/>
                    <a:pt x="8" y="26"/>
                    <a:pt x="9" y="25"/>
                  </a:cubicBezTo>
                  <a:cubicBezTo>
                    <a:pt x="10" y="22"/>
                    <a:pt x="12" y="21"/>
                    <a:pt x="16" y="22"/>
                  </a:cubicBezTo>
                  <a:cubicBezTo>
                    <a:pt x="21" y="23"/>
                    <a:pt x="20" y="24"/>
                    <a:pt x="24" y="24"/>
                  </a:cubicBezTo>
                  <a:cubicBezTo>
                    <a:pt x="28" y="23"/>
                    <a:pt x="31" y="25"/>
                    <a:pt x="33" y="28"/>
                  </a:cubicBezTo>
                  <a:cubicBezTo>
                    <a:pt x="35" y="32"/>
                    <a:pt x="37" y="33"/>
                    <a:pt x="41" y="35"/>
                  </a:cubicBezTo>
                  <a:cubicBezTo>
                    <a:pt x="44" y="36"/>
                    <a:pt x="49" y="29"/>
                    <a:pt x="51" y="27"/>
                  </a:cubicBezTo>
                  <a:cubicBezTo>
                    <a:pt x="54" y="25"/>
                    <a:pt x="56" y="20"/>
                    <a:pt x="57" y="17"/>
                  </a:cubicBezTo>
                  <a:cubicBezTo>
                    <a:pt x="57" y="14"/>
                    <a:pt x="58" y="14"/>
                    <a:pt x="62" y="11"/>
                  </a:cubicBezTo>
                  <a:cubicBezTo>
                    <a:pt x="65" y="7"/>
                    <a:pt x="67" y="10"/>
                    <a:pt x="71" y="10"/>
                  </a:cubicBezTo>
                  <a:cubicBezTo>
                    <a:pt x="75" y="10"/>
                    <a:pt x="75" y="8"/>
                    <a:pt x="77" y="4"/>
                  </a:cubicBezTo>
                  <a:cubicBezTo>
                    <a:pt x="77" y="2"/>
                    <a:pt x="77" y="2"/>
                    <a:pt x="77" y="1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7" y="6"/>
                    <a:pt x="87" y="6"/>
                    <a:pt x="87" y="6"/>
                  </a:cubicBezTo>
                  <a:cubicBezTo>
                    <a:pt x="87" y="6"/>
                    <a:pt x="89" y="10"/>
                    <a:pt x="90" y="10"/>
                  </a:cubicBezTo>
                  <a:cubicBezTo>
                    <a:pt x="92" y="10"/>
                    <a:pt x="95" y="10"/>
                    <a:pt x="95" y="8"/>
                  </a:cubicBezTo>
                  <a:cubicBezTo>
                    <a:pt x="95" y="7"/>
                    <a:pt x="97" y="6"/>
                    <a:pt x="97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6" y="9"/>
                    <a:pt x="108" y="16"/>
                    <a:pt x="110" y="18"/>
                  </a:cubicBezTo>
                  <a:cubicBezTo>
                    <a:pt x="111" y="20"/>
                    <a:pt x="110" y="21"/>
                    <a:pt x="109" y="23"/>
                  </a:cubicBezTo>
                  <a:cubicBezTo>
                    <a:pt x="108" y="25"/>
                    <a:pt x="102" y="31"/>
                    <a:pt x="100" y="33"/>
                  </a:cubicBezTo>
                  <a:cubicBezTo>
                    <a:pt x="98" y="35"/>
                    <a:pt x="101" y="39"/>
                    <a:pt x="102" y="43"/>
                  </a:cubicBezTo>
                  <a:cubicBezTo>
                    <a:pt x="104" y="46"/>
                    <a:pt x="102" y="48"/>
                    <a:pt x="100" y="53"/>
                  </a:cubicBezTo>
                  <a:cubicBezTo>
                    <a:pt x="97" y="57"/>
                    <a:pt x="98" y="56"/>
                    <a:pt x="93" y="56"/>
                  </a:cubicBezTo>
                  <a:cubicBezTo>
                    <a:pt x="88" y="56"/>
                    <a:pt x="88" y="53"/>
                    <a:pt x="87" y="52"/>
                  </a:cubicBezTo>
                  <a:cubicBezTo>
                    <a:pt x="86" y="51"/>
                    <a:pt x="81" y="53"/>
                    <a:pt x="81" y="56"/>
                  </a:cubicBezTo>
                  <a:cubicBezTo>
                    <a:pt x="81" y="59"/>
                    <a:pt x="78" y="61"/>
                    <a:pt x="77" y="62"/>
                  </a:cubicBezTo>
                  <a:cubicBezTo>
                    <a:pt x="75" y="64"/>
                    <a:pt x="80" y="65"/>
                    <a:pt x="83" y="67"/>
                  </a:cubicBezTo>
                  <a:cubicBezTo>
                    <a:pt x="85" y="69"/>
                    <a:pt x="85" y="73"/>
                    <a:pt x="84" y="76"/>
                  </a:cubicBezTo>
                  <a:cubicBezTo>
                    <a:pt x="83" y="79"/>
                    <a:pt x="83" y="81"/>
                    <a:pt x="84" y="84"/>
                  </a:cubicBezTo>
                  <a:cubicBezTo>
                    <a:pt x="84" y="87"/>
                    <a:pt x="88" y="91"/>
                    <a:pt x="89" y="91"/>
                  </a:cubicBezTo>
                  <a:cubicBezTo>
                    <a:pt x="91" y="92"/>
                    <a:pt x="91" y="96"/>
                    <a:pt x="91" y="99"/>
                  </a:cubicBezTo>
                  <a:cubicBezTo>
                    <a:pt x="90" y="101"/>
                    <a:pt x="92" y="101"/>
                    <a:pt x="95" y="100"/>
                  </a:cubicBezTo>
                  <a:cubicBezTo>
                    <a:pt x="98" y="99"/>
                    <a:pt x="100" y="98"/>
                    <a:pt x="100" y="101"/>
                  </a:cubicBezTo>
                  <a:cubicBezTo>
                    <a:pt x="100" y="103"/>
                    <a:pt x="99" y="106"/>
                    <a:pt x="96" y="109"/>
                  </a:cubicBezTo>
                  <a:cubicBezTo>
                    <a:pt x="93" y="112"/>
                    <a:pt x="92" y="116"/>
                    <a:pt x="86" y="114"/>
                  </a:cubicBezTo>
                  <a:cubicBezTo>
                    <a:pt x="80" y="113"/>
                    <a:pt x="80" y="114"/>
                    <a:pt x="79" y="116"/>
                  </a:cubicBezTo>
                  <a:cubicBezTo>
                    <a:pt x="78" y="118"/>
                    <a:pt x="77" y="120"/>
                    <a:pt x="74" y="121"/>
                  </a:cubicBezTo>
                  <a:cubicBezTo>
                    <a:pt x="70" y="122"/>
                    <a:pt x="68" y="122"/>
                    <a:pt x="65" y="119"/>
                  </a:cubicBezTo>
                  <a:cubicBezTo>
                    <a:pt x="62" y="117"/>
                    <a:pt x="62" y="110"/>
                    <a:pt x="61" y="107"/>
                  </a:cubicBezTo>
                  <a:cubicBezTo>
                    <a:pt x="61" y="104"/>
                    <a:pt x="54" y="105"/>
                    <a:pt x="54" y="104"/>
                  </a:cubicBezTo>
                  <a:cubicBezTo>
                    <a:pt x="53" y="103"/>
                    <a:pt x="53" y="99"/>
                    <a:pt x="53" y="96"/>
                  </a:cubicBezTo>
                  <a:cubicBezTo>
                    <a:pt x="53" y="93"/>
                    <a:pt x="48" y="96"/>
                    <a:pt x="48" y="98"/>
                  </a:cubicBezTo>
                  <a:cubicBezTo>
                    <a:pt x="48" y="101"/>
                    <a:pt x="44" y="100"/>
                    <a:pt x="41" y="100"/>
                  </a:cubicBezTo>
                  <a:cubicBezTo>
                    <a:pt x="38" y="99"/>
                    <a:pt x="35" y="99"/>
                    <a:pt x="35" y="99"/>
                  </a:cubicBezTo>
                  <a:lnTo>
                    <a:pt x="31" y="101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8" name="Freeform 25"/>
            <p:cNvSpPr>
              <a:spLocks/>
            </p:cNvSpPr>
            <p:nvPr/>
          </p:nvSpPr>
          <p:spPr bwMode="auto">
            <a:xfrm>
              <a:off x="1519" y="3224"/>
              <a:ext cx="287" cy="317"/>
            </a:xfrm>
            <a:custGeom>
              <a:avLst/>
              <a:gdLst>
                <a:gd name="T0" fmla="*/ 39 w 287"/>
                <a:gd name="T1" fmla="*/ 121 h 317"/>
                <a:gd name="T2" fmla="*/ 62 w 287"/>
                <a:gd name="T3" fmla="*/ 121 h 317"/>
                <a:gd name="T4" fmla="*/ 93 w 287"/>
                <a:gd name="T5" fmla="*/ 115 h 317"/>
                <a:gd name="T6" fmla="*/ 106 w 287"/>
                <a:gd name="T7" fmla="*/ 67 h 317"/>
                <a:gd name="T8" fmla="*/ 116 w 287"/>
                <a:gd name="T9" fmla="*/ 48 h 317"/>
                <a:gd name="T10" fmla="*/ 110 w 287"/>
                <a:gd name="T11" fmla="*/ 25 h 317"/>
                <a:gd name="T12" fmla="*/ 156 w 287"/>
                <a:gd name="T13" fmla="*/ 0 h 317"/>
                <a:gd name="T14" fmla="*/ 173 w 287"/>
                <a:gd name="T15" fmla="*/ 27 h 317"/>
                <a:gd name="T16" fmla="*/ 173 w 287"/>
                <a:gd name="T17" fmla="*/ 46 h 317"/>
                <a:gd name="T18" fmla="*/ 158 w 287"/>
                <a:gd name="T19" fmla="*/ 62 h 317"/>
                <a:gd name="T20" fmla="*/ 148 w 287"/>
                <a:gd name="T21" fmla="*/ 85 h 317"/>
                <a:gd name="T22" fmla="*/ 156 w 287"/>
                <a:gd name="T23" fmla="*/ 104 h 317"/>
                <a:gd name="T24" fmla="*/ 154 w 287"/>
                <a:gd name="T25" fmla="*/ 133 h 317"/>
                <a:gd name="T26" fmla="*/ 171 w 287"/>
                <a:gd name="T27" fmla="*/ 127 h 317"/>
                <a:gd name="T28" fmla="*/ 185 w 287"/>
                <a:gd name="T29" fmla="*/ 110 h 317"/>
                <a:gd name="T30" fmla="*/ 206 w 287"/>
                <a:gd name="T31" fmla="*/ 125 h 317"/>
                <a:gd name="T32" fmla="*/ 227 w 287"/>
                <a:gd name="T33" fmla="*/ 129 h 317"/>
                <a:gd name="T34" fmla="*/ 241 w 287"/>
                <a:gd name="T35" fmla="*/ 121 h 317"/>
                <a:gd name="T36" fmla="*/ 275 w 287"/>
                <a:gd name="T37" fmla="*/ 137 h 317"/>
                <a:gd name="T38" fmla="*/ 287 w 287"/>
                <a:gd name="T39" fmla="*/ 162 h 317"/>
                <a:gd name="T40" fmla="*/ 254 w 287"/>
                <a:gd name="T41" fmla="*/ 196 h 317"/>
                <a:gd name="T42" fmla="*/ 258 w 287"/>
                <a:gd name="T43" fmla="*/ 213 h 317"/>
                <a:gd name="T44" fmla="*/ 243 w 287"/>
                <a:gd name="T45" fmla="*/ 242 h 317"/>
                <a:gd name="T46" fmla="*/ 231 w 287"/>
                <a:gd name="T47" fmla="*/ 225 h 317"/>
                <a:gd name="T48" fmla="*/ 193 w 287"/>
                <a:gd name="T49" fmla="*/ 210 h 317"/>
                <a:gd name="T50" fmla="*/ 168 w 287"/>
                <a:gd name="T51" fmla="*/ 254 h 317"/>
                <a:gd name="T52" fmla="*/ 143 w 287"/>
                <a:gd name="T53" fmla="*/ 248 h 317"/>
                <a:gd name="T54" fmla="*/ 127 w 287"/>
                <a:gd name="T55" fmla="*/ 281 h 317"/>
                <a:gd name="T56" fmla="*/ 102 w 287"/>
                <a:gd name="T57" fmla="*/ 317 h 317"/>
                <a:gd name="T58" fmla="*/ 85 w 287"/>
                <a:gd name="T59" fmla="*/ 279 h 317"/>
                <a:gd name="T60" fmla="*/ 87 w 287"/>
                <a:gd name="T61" fmla="*/ 242 h 317"/>
                <a:gd name="T62" fmla="*/ 71 w 287"/>
                <a:gd name="T63" fmla="*/ 221 h 317"/>
                <a:gd name="T64" fmla="*/ 46 w 287"/>
                <a:gd name="T65" fmla="*/ 208 h 317"/>
                <a:gd name="T66" fmla="*/ 31 w 287"/>
                <a:gd name="T67" fmla="*/ 213 h 317"/>
                <a:gd name="T68" fmla="*/ 0 w 287"/>
                <a:gd name="T69" fmla="*/ 198 h 317"/>
                <a:gd name="T70" fmla="*/ 27 w 287"/>
                <a:gd name="T71" fmla="*/ 177 h 317"/>
                <a:gd name="T72" fmla="*/ 62 w 287"/>
                <a:gd name="T73" fmla="*/ 165 h 317"/>
                <a:gd name="T74" fmla="*/ 29 w 287"/>
                <a:gd name="T75" fmla="*/ 133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7" h="317">
                  <a:moveTo>
                    <a:pt x="29" y="133"/>
                  </a:moveTo>
                  <a:lnTo>
                    <a:pt x="39" y="121"/>
                  </a:lnTo>
                  <a:lnTo>
                    <a:pt x="56" y="117"/>
                  </a:lnTo>
                  <a:lnTo>
                    <a:pt x="62" y="121"/>
                  </a:lnTo>
                  <a:lnTo>
                    <a:pt x="73" y="115"/>
                  </a:lnTo>
                  <a:lnTo>
                    <a:pt x="93" y="115"/>
                  </a:lnTo>
                  <a:lnTo>
                    <a:pt x="96" y="79"/>
                  </a:lnTo>
                  <a:lnTo>
                    <a:pt x="106" y="67"/>
                  </a:lnTo>
                  <a:lnTo>
                    <a:pt x="106" y="56"/>
                  </a:lnTo>
                  <a:lnTo>
                    <a:pt x="116" y="48"/>
                  </a:lnTo>
                  <a:lnTo>
                    <a:pt x="100" y="33"/>
                  </a:lnTo>
                  <a:lnTo>
                    <a:pt x="110" y="25"/>
                  </a:lnTo>
                  <a:lnTo>
                    <a:pt x="123" y="33"/>
                  </a:lnTo>
                  <a:lnTo>
                    <a:pt x="156" y="0"/>
                  </a:lnTo>
                  <a:lnTo>
                    <a:pt x="175" y="17"/>
                  </a:lnTo>
                  <a:lnTo>
                    <a:pt x="173" y="27"/>
                  </a:lnTo>
                  <a:lnTo>
                    <a:pt x="181" y="33"/>
                  </a:lnTo>
                  <a:lnTo>
                    <a:pt x="173" y="46"/>
                  </a:lnTo>
                  <a:lnTo>
                    <a:pt x="171" y="62"/>
                  </a:lnTo>
                  <a:lnTo>
                    <a:pt x="158" y="62"/>
                  </a:lnTo>
                  <a:lnTo>
                    <a:pt x="154" y="75"/>
                  </a:lnTo>
                  <a:lnTo>
                    <a:pt x="148" y="85"/>
                  </a:lnTo>
                  <a:lnTo>
                    <a:pt x="146" y="96"/>
                  </a:lnTo>
                  <a:lnTo>
                    <a:pt x="156" y="104"/>
                  </a:lnTo>
                  <a:lnTo>
                    <a:pt x="156" y="125"/>
                  </a:lnTo>
                  <a:lnTo>
                    <a:pt x="154" y="133"/>
                  </a:lnTo>
                  <a:lnTo>
                    <a:pt x="160" y="137"/>
                  </a:lnTo>
                  <a:lnTo>
                    <a:pt x="171" y="127"/>
                  </a:lnTo>
                  <a:lnTo>
                    <a:pt x="173" y="115"/>
                  </a:lnTo>
                  <a:lnTo>
                    <a:pt x="185" y="110"/>
                  </a:lnTo>
                  <a:lnTo>
                    <a:pt x="200" y="121"/>
                  </a:lnTo>
                  <a:lnTo>
                    <a:pt x="206" y="125"/>
                  </a:lnTo>
                  <a:lnTo>
                    <a:pt x="218" y="115"/>
                  </a:lnTo>
                  <a:lnTo>
                    <a:pt x="227" y="129"/>
                  </a:lnTo>
                  <a:lnTo>
                    <a:pt x="235" y="129"/>
                  </a:lnTo>
                  <a:lnTo>
                    <a:pt x="241" y="121"/>
                  </a:lnTo>
                  <a:lnTo>
                    <a:pt x="252" y="121"/>
                  </a:lnTo>
                  <a:lnTo>
                    <a:pt x="275" y="137"/>
                  </a:lnTo>
                  <a:lnTo>
                    <a:pt x="287" y="148"/>
                  </a:lnTo>
                  <a:lnTo>
                    <a:pt x="287" y="162"/>
                  </a:lnTo>
                  <a:lnTo>
                    <a:pt x="262" y="183"/>
                  </a:lnTo>
                  <a:lnTo>
                    <a:pt x="254" y="196"/>
                  </a:lnTo>
                  <a:lnTo>
                    <a:pt x="258" y="204"/>
                  </a:lnTo>
                  <a:lnTo>
                    <a:pt x="258" y="213"/>
                  </a:lnTo>
                  <a:lnTo>
                    <a:pt x="256" y="229"/>
                  </a:lnTo>
                  <a:lnTo>
                    <a:pt x="243" y="242"/>
                  </a:lnTo>
                  <a:lnTo>
                    <a:pt x="227" y="238"/>
                  </a:lnTo>
                  <a:lnTo>
                    <a:pt x="231" y="225"/>
                  </a:lnTo>
                  <a:lnTo>
                    <a:pt x="210" y="221"/>
                  </a:lnTo>
                  <a:lnTo>
                    <a:pt x="193" y="210"/>
                  </a:lnTo>
                  <a:lnTo>
                    <a:pt x="175" y="233"/>
                  </a:lnTo>
                  <a:lnTo>
                    <a:pt x="168" y="254"/>
                  </a:lnTo>
                  <a:lnTo>
                    <a:pt x="156" y="256"/>
                  </a:lnTo>
                  <a:lnTo>
                    <a:pt x="143" y="248"/>
                  </a:lnTo>
                  <a:lnTo>
                    <a:pt x="129" y="256"/>
                  </a:lnTo>
                  <a:lnTo>
                    <a:pt x="127" y="281"/>
                  </a:lnTo>
                  <a:lnTo>
                    <a:pt x="112" y="306"/>
                  </a:lnTo>
                  <a:lnTo>
                    <a:pt x="102" y="317"/>
                  </a:lnTo>
                  <a:lnTo>
                    <a:pt x="91" y="302"/>
                  </a:lnTo>
                  <a:lnTo>
                    <a:pt x="85" y="279"/>
                  </a:lnTo>
                  <a:lnTo>
                    <a:pt x="85" y="265"/>
                  </a:lnTo>
                  <a:lnTo>
                    <a:pt x="87" y="242"/>
                  </a:lnTo>
                  <a:lnTo>
                    <a:pt x="73" y="238"/>
                  </a:lnTo>
                  <a:lnTo>
                    <a:pt x="71" y="221"/>
                  </a:lnTo>
                  <a:lnTo>
                    <a:pt x="58" y="221"/>
                  </a:lnTo>
                  <a:lnTo>
                    <a:pt x="46" y="208"/>
                  </a:lnTo>
                  <a:lnTo>
                    <a:pt x="37" y="219"/>
                  </a:lnTo>
                  <a:lnTo>
                    <a:pt x="31" y="213"/>
                  </a:lnTo>
                  <a:lnTo>
                    <a:pt x="16" y="219"/>
                  </a:lnTo>
                  <a:lnTo>
                    <a:pt x="0" y="198"/>
                  </a:lnTo>
                  <a:lnTo>
                    <a:pt x="18" y="177"/>
                  </a:lnTo>
                  <a:lnTo>
                    <a:pt x="27" y="177"/>
                  </a:lnTo>
                  <a:lnTo>
                    <a:pt x="43" y="181"/>
                  </a:lnTo>
                  <a:lnTo>
                    <a:pt x="62" y="165"/>
                  </a:lnTo>
                  <a:lnTo>
                    <a:pt x="29" y="131"/>
                  </a:lnTo>
                  <a:lnTo>
                    <a:pt x="29" y="13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9" name="Freeform 26"/>
            <p:cNvSpPr>
              <a:spLocks/>
            </p:cNvSpPr>
            <p:nvPr/>
          </p:nvSpPr>
          <p:spPr bwMode="auto">
            <a:xfrm>
              <a:off x="1317" y="3332"/>
              <a:ext cx="264" cy="175"/>
            </a:xfrm>
            <a:custGeom>
              <a:avLst/>
              <a:gdLst>
                <a:gd name="T0" fmla="*/ 12 w 264"/>
                <a:gd name="T1" fmla="*/ 113 h 175"/>
                <a:gd name="T2" fmla="*/ 12 w 264"/>
                <a:gd name="T3" fmla="*/ 100 h 175"/>
                <a:gd name="T4" fmla="*/ 0 w 264"/>
                <a:gd name="T5" fmla="*/ 88 h 175"/>
                <a:gd name="T6" fmla="*/ 2 w 264"/>
                <a:gd name="T7" fmla="*/ 73 h 175"/>
                <a:gd name="T8" fmla="*/ 12 w 264"/>
                <a:gd name="T9" fmla="*/ 65 h 175"/>
                <a:gd name="T10" fmla="*/ 20 w 264"/>
                <a:gd name="T11" fmla="*/ 65 h 175"/>
                <a:gd name="T12" fmla="*/ 29 w 264"/>
                <a:gd name="T13" fmla="*/ 57 h 175"/>
                <a:gd name="T14" fmla="*/ 43 w 264"/>
                <a:gd name="T15" fmla="*/ 54 h 175"/>
                <a:gd name="T16" fmla="*/ 56 w 264"/>
                <a:gd name="T17" fmla="*/ 50 h 175"/>
                <a:gd name="T18" fmla="*/ 72 w 264"/>
                <a:gd name="T19" fmla="*/ 48 h 175"/>
                <a:gd name="T20" fmla="*/ 83 w 264"/>
                <a:gd name="T21" fmla="*/ 38 h 175"/>
                <a:gd name="T22" fmla="*/ 87 w 264"/>
                <a:gd name="T23" fmla="*/ 23 h 175"/>
                <a:gd name="T24" fmla="*/ 95 w 264"/>
                <a:gd name="T25" fmla="*/ 15 h 175"/>
                <a:gd name="T26" fmla="*/ 106 w 264"/>
                <a:gd name="T27" fmla="*/ 25 h 175"/>
                <a:gd name="T28" fmla="*/ 122 w 264"/>
                <a:gd name="T29" fmla="*/ 25 h 175"/>
                <a:gd name="T30" fmla="*/ 122 w 264"/>
                <a:gd name="T31" fmla="*/ 13 h 175"/>
                <a:gd name="T32" fmla="*/ 150 w 264"/>
                <a:gd name="T33" fmla="*/ 13 h 175"/>
                <a:gd name="T34" fmla="*/ 158 w 264"/>
                <a:gd name="T35" fmla="*/ 17 h 175"/>
                <a:gd name="T36" fmla="*/ 162 w 264"/>
                <a:gd name="T37" fmla="*/ 9 h 175"/>
                <a:gd name="T38" fmla="*/ 172 w 264"/>
                <a:gd name="T39" fmla="*/ 11 h 175"/>
                <a:gd name="T40" fmla="*/ 187 w 264"/>
                <a:gd name="T41" fmla="*/ 0 h 175"/>
                <a:gd name="T42" fmla="*/ 197 w 264"/>
                <a:gd name="T43" fmla="*/ 2 h 175"/>
                <a:gd name="T44" fmla="*/ 208 w 264"/>
                <a:gd name="T45" fmla="*/ 19 h 175"/>
                <a:gd name="T46" fmla="*/ 227 w 264"/>
                <a:gd name="T47" fmla="*/ 19 h 175"/>
                <a:gd name="T48" fmla="*/ 231 w 264"/>
                <a:gd name="T49" fmla="*/ 25 h 175"/>
                <a:gd name="T50" fmla="*/ 231 w 264"/>
                <a:gd name="T51" fmla="*/ 23 h 175"/>
                <a:gd name="T52" fmla="*/ 264 w 264"/>
                <a:gd name="T53" fmla="*/ 57 h 175"/>
                <a:gd name="T54" fmla="*/ 245 w 264"/>
                <a:gd name="T55" fmla="*/ 73 h 175"/>
                <a:gd name="T56" fmla="*/ 229 w 264"/>
                <a:gd name="T57" fmla="*/ 69 h 175"/>
                <a:gd name="T58" fmla="*/ 220 w 264"/>
                <a:gd name="T59" fmla="*/ 69 h 175"/>
                <a:gd name="T60" fmla="*/ 202 w 264"/>
                <a:gd name="T61" fmla="*/ 90 h 175"/>
                <a:gd name="T62" fmla="*/ 181 w 264"/>
                <a:gd name="T63" fmla="*/ 77 h 175"/>
                <a:gd name="T64" fmla="*/ 175 w 264"/>
                <a:gd name="T65" fmla="*/ 88 h 175"/>
                <a:gd name="T66" fmla="*/ 156 w 264"/>
                <a:gd name="T67" fmla="*/ 88 h 175"/>
                <a:gd name="T68" fmla="*/ 158 w 264"/>
                <a:gd name="T69" fmla="*/ 100 h 175"/>
                <a:gd name="T70" fmla="*/ 147 w 264"/>
                <a:gd name="T71" fmla="*/ 111 h 175"/>
                <a:gd name="T72" fmla="*/ 156 w 264"/>
                <a:gd name="T73" fmla="*/ 123 h 175"/>
                <a:gd name="T74" fmla="*/ 135 w 264"/>
                <a:gd name="T75" fmla="*/ 138 h 175"/>
                <a:gd name="T76" fmla="*/ 135 w 264"/>
                <a:gd name="T77" fmla="*/ 155 h 175"/>
                <a:gd name="T78" fmla="*/ 112 w 264"/>
                <a:gd name="T79" fmla="*/ 173 h 175"/>
                <a:gd name="T80" fmla="*/ 118 w 264"/>
                <a:gd name="T81" fmla="*/ 175 h 175"/>
                <a:gd name="T82" fmla="*/ 108 w 264"/>
                <a:gd name="T83" fmla="*/ 171 h 175"/>
                <a:gd name="T84" fmla="*/ 108 w 264"/>
                <a:gd name="T85" fmla="*/ 159 h 175"/>
                <a:gd name="T86" fmla="*/ 95 w 264"/>
                <a:gd name="T87" fmla="*/ 157 h 175"/>
                <a:gd name="T88" fmla="*/ 91 w 264"/>
                <a:gd name="T89" fmla="*/ 165 h 175"/>
                <a:gd name="T90" fmla="*/ 79 w 264"/>
                <a:gd name="T91" fmla="*/ 163 h 175"/>
                <a:gd name="T92" fmla="*/ 68 w 264"/>
                <a:gd name="T93" fmla="*/ 169 h 175"/>
                <a:gd name="T94" fmla="*/ 56 w 264"/>
                <a:gd name="T95" fmla="*/ 169 h 175"/>
                <a:gd name="T96" fmla="*/ 56 w 264"/>
                <a:gd name="T97" fmla="*/ 161 h 175"/>
                <a:gd name="T98" fmla="*/ 45 w 264"/>
                <a:gd name="T99" fmla="*/ 150 h 175"/>
                <a:gd name="T100" fmla="*/ 45 w 264"/>
                <a:gd name="T101" fmla="*/ 136 h 175"/>
                <a:gd name="T102" fmla="*/ 35 w 264"/>
                <a:gd name="T103" fmla="*/ 127 h 175"/>
                <a:gd name="T104" fmla="*/ 35 w 264"/>
                <a:gd name="T105" fmla="*/ 117 h 175"/>
                <a:gd name="T106" fmla="*/ 20 w 264"/>
                <a:gd name="T107" fmla="*/ 117 h 175"/>
                <a:gd name="T108" fmla="*/ 12 w 264"/>
                <a:gd name="T109" fmla="*/ 1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4" h="175">
                  <a:moveTo>
                    <a:pt x="12" y="113"/>
                  </a:moveTo>
                  <a:lnTo>
                    <a:pt x="12" y="100"/>
                  </a:lnTo>
                  <a:lnTo>
                    <a:pt x="0" y="88"/>
                  </a:lnTo>
                  <a:lnTo>
                    <a:pt x="2" y="73"/>
                  </a:lnTo>
                  <a:lnTo>
                    <a:pt x="12" y="65"/>
                  </a:lnTo>
                  <a:lnTo>
                    <a:pt x="20" y="65"/>
                  </a:lnTo>
                  <a:lnTo>
                    <a:pt x="29" y="57"/>
                  </a:lnTo>
                  <a:lnTo>
                    <a:pt x="43" y="54"/>
                  </a:lnTo>
                  <a:lnTo>
                    <a:pt x="56" y="50"/>
                  </a:lnTo>
                  <a:lnTo>
                    <a:pt x="72" y="48"/>
                  </a:lnTo>
                  <a:lnTo>
                    <a:pt x="83" y="38"/>
                  </a:lnTo>
                  <a:lnTo>
                    <a:pt x="87" y="23"/>
                  </a:lnTo>
                  <a:lnTo>
                    <a:pt x="95" y="15"/>
                  </a:lnTo>
                  <a:lnTo>
                    <a:pt x="106" y="25"/>
                  </a:lnTo>
                  <a:lnTo>
                    <a:pt x="122" y="25"/>
                  </a:lnTo>
                  <a:lnTo>
                    <a:pt x="122" y="13"/>
                  </a:lnTo>
                  <a:lnTo>
                    <a:pt x="150" y="13"/>
                  </a:lnTo>
                  <a:lnTo>
                    <a:pt x="158" y="17"/>
                  </a:lnTo>
                  <a:lnTo>
                    <a:pt x="162" y="9"/>
                  </a:lnTo>
                  <a:lnTo>
                    <a:pt x="172" y="11"/>
                  </a:lnTo>
                  <a:lnTo>
                    <a:pt x="187" y="0"/>
                  </a:lnTo>
                  <a:lnTo>
                    <a:pt x="197" y="2"/>
                  </a:lnTo>
                  <a:lnTo>
                    <a:pt x="208" y="19"/>
                  </a:lnTo>
                  <a:lnTo>
                    <a:pt x="227" y="19"/>
                  </a:lnTo>
                  <a:lnTo>
                    <a:pt x="231" y="25"/>
                  </a:lnTo>
                  <a:lnTo>
                    <a:pt x="231" y="23"/>
                  </a:lnTo>
                  <a:lnTo>
                    <a:pt x="264" y="57"/>
                  </a:lnTo>
                  <a:lnTo>
                    <a:pt x="245" y="73"/>
                  </a:lnTo>
                  <a:lnTo>
                    <a:pt x="229" y="69"/>
                  </a:lnTo>
                  <a:lnTo>
                    <a:pt x="220" y="69"/>
                  </a:lnTo>
                  <a:lnTo>
                    <a:pt x="202" y="90"/>
                  </a:lnTo>
                  <a:lnTo>
                    <a:pt x="181" y="77"/>
                  </a:lnTo>
                  <a:lnTo>
                    <a:pt x="175" y="88"/>
                  </a:lnTo>
                  <a:lnTo>
                    <a:pt x="156" y="88"/>
                  </a:lnTo>
                  <a:lnTo>
                    <a:pt x="158" y="100"/>
                  </a:lnTo>
                  <a:lnTo>
                    <a:pt x="147" y="111"/>
                  </a:lnTo>
                  <a:lnTo>
                    <a:pt x="156" y="123"/>
                  </a:lnTo>
                  <a:lnTo>
                    <a:pt x="135" y="138"/>
                  </a:lnTo>
                  <a:lnTo>
                    <a:pt x="135" y="155"/>
                  </a:lnTo>
                  <a:lnTo>
                    <a:pt x="112" y="173"/>
                  </a:lnTo>
                  <a:lnTo>
                    <a:pt x="118" y="175"/>
                  </a:lnTo>
                  <a:lnTo>
                    <a:pt x="108" y="171"/>
                  </a:lnTo>
                  <a:lnTo>
                    <a:pt x="108" y="159"/>
                  </a:lnTo>
                  <a:lnTo>
                    <a:pt x="95" y="157"/>
                  </a:lnTo>
                  <a:lnTo>
                    <a:pt x="91" y="165"/>
                  </a:lnTo>
                  <a:lnTo>
                    <a:pt x="79" y="163"/>
                  </a:lnTo>
                  <a:lnTo>
                    <a:pt x="68" y="169"/>
                  </a:lnTo>
                  <a:lnTo>
                    <a:pt x="56" y="169"/>
                  </a:lnTo>
                  <a:lnTo>
                    <a:pt x="56" y="161"/>
                  </a:lnTo>
                  <a:lnTo>
                    <a:pt x="45" y="150"/>
                  </a:lnTo>
                  <a:lnTo>
                    <a:pt x="45" y="136"/>
                  </a:lnTo>
                  <a:lnTo>
                    <a:pt x="35" y="127"/>
                  </a:lnTo>
                  <a:lnTo>
                    <a:pt x="35" y="117"/>
                  </a:lnTo>
                  <a:lnTo>
                    <a:pt x="20" y="117"/>
                  </a:lnTo>
                  <a:lnTo>
                    <a:pt x="12" y="11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0" name="Freeform 27"/>
            <p:cNvSpPr>
              <a:spLocks/>
            </p:cNvSpPr>
            <p:nvPr/>
          </p:nvSpPr>
          <p:spPr bwMode="auto">
            <a:xfrm>
              <a:off x="1248" y="3478"/>
              <a:ext cx="148" cy="156"/>
            </a:xfrm>
            <a:custGeom>
              <a:avLst/>
              <a:gdLst>
                <a:gd name="T0" fmla="*/ 0 w 71"/>
                <a:gd name="T1" fmla="*/ 37 h 75"/>
                <a:gd name="T2" fmla="*/ 0 w 71"/>
                <a:gd name="T3" fmla="*/ 36 h 75"/>
                <a:gd name="T4" fmla="*/ 8 w 71"/>
                <a:gd name="T5" fmla="*/ 37 h 75"/>
                <a:gd name="T6" fmla="*/ 8 w 71"/>
                <a:gd name="T7" fmla="*/ 27 h 75"/>
                <a:gd name="T8" fmla="*/ 5 w 71"/>
                <a:gd name="T9" fmla="*/ 22 h 75"/>
                <a:gd name="T10" fmla="*/ 7 w 71"/>
                <a:gd name="T11" fmla="*/ 12 h 75"/>
                <a:gd name="T12" fmla="*/ 6 w 71"/>
                <a:gd name="T13" fmla="*/ 6 h 75"/>
                <a:gd name="T14" fmla="*/ 12 w 71"/>
                <a:gd name="T15" fmla="*/ 0 h 75"/>
                <a:gd name="T16" fmla="*/ 16 w 71"/>
                <a:gd name="T17" fmla="*/ 0 h 75"/>
                <a:gd name="T18" fmla="*/ 18 w 71"/>
                <a:gd name="T19" fmla="*/ 5 h 75"/>
                <a:gd name="T20" fmla="*/ 22 w 71"/>
                <a:gd name="T21" fmla="*/ 5 h 75"/>
                <a:gd name="T22" fmla="*/ 27 w 71"/>
                <a:gd name="T23" fmla="*/ 9 h 75"/>
                <a:gd name="T24" fmla="*/ 34 w 71"/>
                <a:gd name="T25" fmla="*/ 10 h 75"/>
                <a:gd name="T26" fmla="*/ 39 w 71"/>
                <a:gd name="T27" fmla="*/ 14 h 75"/>
                <a:gd name="T28" fmla="*/ 39 w 71"/>
                <a:gd name="T29" fmla="*/ 22 h 75"/>
                <a:gd name="T30" fmla="*/ 45 w 71"/>
                <a:gd name="T31" fmla="*/ 28 h 75"/>
                <a:gd name="T32" fmla="*/ 49 w 71"/>
                <a:gd name="T33" fmla="*/ 27 h 75"/>
                <a:gd name="T34" fmla="*/ 56 w 71"/>
                <a:gd name="T35" fmla="*/ 28 h 75"/>
                <a:gd name="T36" fmla="*/ 62 w 71"/>
                <a:gd name="T37" fmla="*/ 34 h 75"/>
                <a:gd name="T38" fmla="*/ 69 w 71"/>
                <a:gd name="T39" fmla="*/ 36 h 75"/>
                <a:gd name="T40" fmla="*/ 71 w 71"/>
                <a:gd name="T41" fmla="*/ 43 h 75"/>
                <a:gd name="T42" fmla="*/ 69 w 71"/>
                <a:gd name="T43" fmla="*/ 49 h 75"/>
                <a:gd name="T44" fmla="*/ 67 w 71"/>
                <a:gd name="T45" fmla="*/ 55 h 75"/>
                <a:gd name="T46" fmla="*/ 71 w 71"/>
                <a:gd name="T47" fmla="*/ 58 h 75"/>
                <a:gd name="T48" fmla="*/ 68 w 71"/>
                <a:gd name="T49" fmla="*/ 64 h 75"/>
                <a:gd name="T50" fmla="*/ 59 w 71"/>
                <a:gd name="T51" fmla="*/ 75 h 75"/>
                <a:gd name="T52" fmla="*/ 55 w 71"/>
                <a:gd name="T53" fmla="*/ 71 h 75"/>
                <a:gd name="T54" fmla="*/ 52 w 71"/>
                <a:gd name="T55" fmla="*/ 72 h 75"/>
                <a:gd name="T56" fmla="*/ 46 w 71"/>
                <a:gd name="T57" fmla="*/ 73 h 75"/>
                <a:gd name="T58" fmla="*/ 28 w 71"/>
                <a:gd name="T59" fmla="*/ 62 h 75"/>
                <a:gd name="T60" fmla="*/ 24 w 71"/>
                <a:gd name="T61" fmla="*/ 56 h 75"/>
                <a:gd name="T62" fmla="*/ 17 w 71"/>
                <a:gd name="T63" fmla="*/ 56 h 75"/>
                <a:gd name="T64" fmla="*/ 6 w 71"/>
                <a:gd name="T65" fmla="*/ 49 h 75"/>
                <a:gd name="T66" fmla="*/ 6 w 71"/>
                <a:gd name="T67" fmla="*/ 44 h 75"/>
                <a:gd name="T68" fmla="*/ 3 w 71"/>
                <a:gd name="T69" fmla="*/ 42 h 75"/>
                <a:gd name="T70" fmla="*/ 0 w 71"/>
                <a:gd name="T71" fmla="*/ 3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1" h="75">
                  <a:moveTo>
                    <a:pt x="0" y="37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9" y="36"/>
                    <a:pt x="71" y="42"/>
                    <a:pt x="71" y="43"/>
                  </a:cubicBezTo>
                  <a:cubicBezTo>
                    <a:pt x="71" y="43"/>
                    <a:pt x="69" y="49"/>
                    <a:pt x="69" y="49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3" y="42"/>
                    <a:pt x="3" y="42"/>
                    <a:pt x="3" y="42"/>
                  </a:cubicBezTo>
                  <a:lnTo>
                    <a:pt x="0" y="3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1" name="Freeform 28"/>
            <p:cNvSpPr>
              <a:spLocks/>
            </p:cNvSpPr>
            <p:nvPr/>
          </p:nvSpPr>
          <p:spPr bwMode="auto">
            <a:xfrm>
              <a:off x="1467" y="3662"/>
              <a:ext cx="352" cy="341"/>
            </a:xfrm>
            <a:custGeom>
              <a:avLst/>
              <a:gdLst>
                <a:gd name="T0" fmla="*/ 150 w 169"/>
                <a:gd name="T1" fmla="*/ 121 h 164"/>
                <a:gd name="T2" fmla="*/ 165 w 169"/>
                <a:gd name="T3" fmla="*/ 144 h 164"/>
                <a:gd name="T4" fmla="*/ 154 w 169"/>
                <a:gd name="T5" fmla="*/ 163 h 164"/>
                <a:gd name="T6" fmla="*/ 135 w 169"/>
                <a:gd name="T7" fmla="*/ 151 h 164"/>
                <a:gd name="T8" fmla="*/ 117 w 169"/>
                <a:gd name="T9" fmla="*/ 145 h 164"/>
                <a:gd name="T10" fmla="*/ 108 w 169"/>
                <a:gd name="T11" fmla="*/ 130 h 164"/>
                <a:gd name="T12" fmla="*/ 92 w 169"/>
                <a:gd name="T13" fmla="*/ 132 h 164"/>
                <a:gd name="T14" fmla="*/ 74 w 169"/>
                <a:gd name="T15" fmla="*/ 120 h 164"/>
                <a:gd name="T16" fmla="*/ 53 w 169"/>
                <a:gd name="T17" fmla="*/ 108 h 164"/>
                <a:gd name="T18" fmla="*/ 40 w 169"/>
                <a:gd name="T19" fmla="*/ 110 h 164"/>
                <a:gd name="T20" fmla="*/ 38 w 169"/>
                <a:gd name="T21" fmla="*/ 86 h 164"/>
                <a:gd name="T22" fmla="*/ 24 w 169"/>
                <a:gd name="T23" fmla="*/ 66 h 164"/>
                <a:gd name="T24" fmla="*/ 7 w 169"/>
                <a:gd name="T25" fmla="*/ 61 h 164"/>
                <a:gd name="T26" fmla="*/ 0 w 169"/>
                <a:gd name="T27" fmla="*/ 50 h 164"/>
                <a:gd name="T28" fmla="*/ 0 w 169"/>
                <a:gd name="T29" fmla="*/ 46 h 164"/>
                <a:gd name="T30" fmla="*/ 14 w 169"/>
                <a:gd name="T31" fmla="*/ 46 h 164"/>
                <a:gd name="T32" fmla="*/ 27 w 169"/>
                <a:gd name="T33" fmla="*/ 36 h 164"/>
                <a:gd name="T34" fmla="*/ 37 w 169"/>
                <a:gd name="T35" fmla="*/ 31 h 164"/>
                <a:gd name="T36" fmla="*/ 55 w 169"/>
                <a:gd name="T37" fmla="*/ 11 h 164"/>
                <a:gd name="T38" fmla="*/ 59 w 169"/>
                <a:gd name="T39" fmla="*/ 0 h 164"/>
                <a:gd name="T40" fmla="*/ 69 w 169"/>
                <a:gd name="T41" fmla="*/ 5 h 164"/>
                <a:gd name="T42" fmla="*/ 71 w 169"/>
                <a:gd name="T43" fmla="*/ 14 h 164"/>
                <a:gd name="T44" fmla="*/ 75 w 169"/>
                <a:gd name="T45" fmla="*/ 29 h 164"/>
                <a:gd name="T46" fmla="*/ 72 w 169"/>
                <a:gd name="T47" fmla="*/ 36 h 164"/>
                <a:gd name="T48" fmla="*/ 84 w 169"/>
                <a:gd name="T49" fmla="*/ 51 h 164"/>
                <a:gd name="T50" fmla="*/ 86 w 169"/>
                <a:gd name="T51" fmla="*/ 66 h 164"/>
                <a:gd name="T52" fmla="*/ 83 w 169"/>
                <a:gd name="T53" fmla="*/ 77 h 164"/>
                <a:gd name="T54" fmla="*/ 92 w 169"/>
                <a:gd name="T55" fmla="*/ 78 h 164"/>
                <a:gd name="T56" fmla="*/ 98 w 169"/>
                <a:gd name="T57" fmla="*/ 84 h 164"/>
                <a:gd name="T58" fmla="*/ 90 w 169"/>
                <a:gd name="T59" fmla="*/ 91 h 164"/>
                <a:gd name="T60" fmla="*/ 92 w 169"/>
                <a:gd name="T61" fmla="*/ 98 h 164"/>
                <a:gd name="T62" fmla="*/ 94 w 169"/>
                <a:gd name="T63" fmla="*/ 106 h 164"/>
                <a:gd name="T64" fmla="*/ 104 w 169"/>
                <a:gd name="T65" fmla="*/ 112 h 164"/>
                <a:gd name="T66" fmla="*/ 119 w 169"/>
                <a:gd name="T67" fmla="*/ 116 h 164"/>
                <a:gd name="T68" fmla="*/ 130 w 169"/>
                <a:gd name="T69" fmla="*/ 104 h 164"/>
                <a:gd name="T70" fmla="*/ 139 w 169"/>
                <a:gd name="T71" fmla="*/ 107 h 164"/>
                <a:gd name="T72" fmla="*/ 152 w 169"/>
                <a:gd name="T73" fmla="*/ 107 h 164"/>
                <a:gd name="T74" fmla="*/ 151 w 169"/>
                <a:gd name="T75" fmla="*/ 117 h 164"/>
                <a:gd name="T76" fmla="*/ 151 w 169"/>
                <a:gd name="T77" fmla="*/ 12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" h="164">
                  <a:moveTo>
                    <a:pt x="151" y="121"/>
                  </a:moveTo>
                  <a:cubicBezTo>
                    <a:pt x="151" y="121"/>
                    <a:pt x="151" y="121"/>
                    <a:pt x="150" y="121"/>
                  </a:cubicBezTo>
                  <a:cubicBezTo>
                    <a:pt x="147" y="123"/>
                    <a:pt x="155" y="130"/>
                    <a:pt x="157" y="134"/>
                  </a:cubicBezTo>
                  <a:cubicBezTo>
                    <a:pt x="159" y="137"/>
                    <a:pt x="161" y="140"/>
                    <a:pt x="165" y="144"/>
                  </a:cubicBezTo>
                  <a:cubicBezTo>
                    <a:pt x="169" y="148"/>
                    <a:pt x="167" y="151"/>
                    <a:pt x="164" y="155"/>
                  </a:cubicBezTo>
                  <a:cubicBezTo>
                    <a:pt x="162" y="160"/>
                    <a:pt x="161" y="164"/>
                    <a:pt x="154" y="163"/>
                  </a:cubicBezTo>
                  <a:cubicBezTo>
                    <a:pt x="147" y="162"/>
                    <a:pt x="139" y="159"/>
                    <a:pt x="139" y="156"/>
                  </a:cubicBezTo>
                  <a:cubicBezTo>
                    <a:pt x="139" y="154"/>
                    <a:pt x="137" y="151"/>
                    <a:pt x="135" y="151"/>
                  </a:cubicBezTo>
                  <a:cubicBezTo>
                    <a:pt x="134" y="151"/>
                    <a:pt x="132" y="155"/>
                    <a:pt x="129" y="155"/>
                  </a:cubicBezTo>
                  <a:cubicBezTo>
                    <a:pt x="127" y="155"/>
                    <a:pt x="119" y="148"/>
                    <a:pt x="117" y="145"/>
                  </a:cubicBezTo>
                  <a:cubicBezTo>
                    <a:pt x="115" y="142"/>
                    <a:pt x="113" y="141"/>
                    <a:pt x="115" y="136"/>
                  </a:cubicBezTo>
                  <a:cubicBezTo>
                    <a:pt x="117" y="132"/>
                    <a:pt x="111" y="134"/>
                    <a:pt x="108" y="130"/>
                  </a:cubicBezTo>
                  <a:cubicBezTo>
                    <a:pt x="105" y="127"/>
                    <a:pt x="103" y="127"/>
                    <a:pt x="102" y="129"/>
                  </a:cubicBezTo>
                  <a:cubicBezTo>
                    <a:pt x="101" y="132"/>
                    <a:pt x="92" y="135"/>
                    <a:pt x="92" y="132"/>
                  </a:cubicBezTo>
                  <a:cubicBezTo>
                    <a:pt x="91" y="129"/>
                    <a:pt x="90" y="124"/>
                    <a:pt x="88" y="121"/>
                  </a:cubicBezTo>
                  <a:cubicBezTo>
                    <a:pt x="85" y="117"/>
                    <a:pt x="79" y="116"/>
                    <a:pt x="74" y="120"/>
                  </a:cubicBezTo>
                  <a:cubicBezTo>
                    <a:pt x="69" y="123"/>
                    <a:pt x="60" y="126"/>
                    <a:pt x="60" y="123"/>
                  </a:cubicBezTo>
                  <a:cubicBezTo>
                    <a:pt x="59" y="119"/>
                    <a:pt x="53" y="112"/>
                    <a:pt x="53" y="108"/>
                  </a:cubicBezTo>
                  <a:cubicBezTo>
                    <a:pt x="52" y="104"/>
                    <a:pt x="47" y="104"/>
                    <a:pt x="46" y="109"/>
                  </a:cubicBezTo>
                  <a:cubicBezTo>
                    <a:pt x="46" y="114"/>
                    <a:pt x="38" y="116"/>
                    <a:pt x="40" y="110"/>
                  </a:cubicBezTo>
                  <a:cubicBezTo>
                    <a:pt x="42" y="104"/>
                    <a:pt x="43" y="102"/>
                    <a:pt x="42" y="100"/>
                  </a:cubicBezTo>
                  <a:cubicBezTo>
                    <a:pt x="41" y="97"/>
                    <a:pt x="39" y="91"/>
                    <a:pt x="38" y="86"/>
                  </a:cubicBezTo>
                  <a:cubicBezTo>
                    <a:pt x="38" y="80"/>
                    <a:pt x="35" y="80"/>
                    <a:pt x="28" y="76"/>
                  </a:cubicBezTo>
                  <a:cubicBezTo>
                    <a:pt x="20" y="71"/>
                    <a:pt x="24" y="70"/>
                    <a:pt x="24" y="66"/>
                  </a:cubicBezTo>
                  <a:cubicBezTo>
                    <a:pt x="24" y="62"/>
                    <a:pt x="19" y="61"/>
                    <a:pt x="15" y="62"/>
                  </a:cubicBezTo>
                  <a:cubicBezTo>
                    <a:pt x="12" y="63"/>
                    <a:pt x="7" y="64"/>
                    <a:pt x="7" y="61"/>
                  </a:cubicBezTo>
                  <a:cubicBezTo>
                    <a:pt x="6" y="59"/>
                    <a:pt x="7" y="57"/>
                    <a:pt x="3" y="52"/>
                  </a:cubicBezTo>
                  <a:cubicBezTo>
                    <a:pt x="2" y="51"/>
                    <a:pt x="1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8" y="80"/>
                    <a:pt x="88" y="80"/>
                    <a:pt x="88" y="80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90" y="91"/>
                    <a:pt x="90" y="91"/>
                    <a:pt x="90" y="91"/>
                  </a:cubicBezTo>
                  <a:cubicBezTo>
                    <a:pt x="90" y="91"/>
                    <a:pt x="97" y="92"/>
                    <a:pt x="96" y="93"/>
                  </a:cubicBezTo>
                  <a:cubicBezTo>
                    <a:pt x="96" y="94"/>
                    <a:pt x="92" y="98"/>
                    <a:pt x="92" y="9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94" y="106"/>
                    <a:pt x="94" y="106"/>
                    <a:pt x="94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104" y="112"/>
                    <a:pt x="104" y="112"/>
                    <a:pt x="104" y="112"/>
                  </a:cubicBezTo>
                  <a:cubicBezTo>
                    <a:pt x="109" y="108"/>
                    <a:pt x="109" y="108"/>
                    <a:pt x="109" y="108"/>
                  </a:cubicBezTo>
                  <a:cubicBezTo>
                    <a:pt x="119" y="116"/>
                    <a:pt x="119" y="116"/>
                    <a:pt x="119" y="116"/>
                  </a:cubicBezTo>
                  <a:cubicBezTo>
                    <a:pt x="129" y="104"/>
                    <a:pt x="129" y="104"/>
                    <a:pt x="129" y="104"/>
                  </a:cubicBezTo>
                  <a:cubicBezTo>
                    <a:pt x="130" y="104"/>
                    <a:pt x="130" y="104"/>
                    <a:pt x="130" y="104"/>
                  </a:cubicBezTo>
                  <a:cubicBezTo>
                    <a:pt x="129" y="105"/>
                    <a:pt x="129" y="105"/>
                    <a:pt x="129" y="105"/>
                  </a:cubicBezTo>
                  <a:cubicBezTo>
                    <a:pt x="139" y="107"/>
                    <a:pt x="139" y="107"/>
                    <a:pt x="139" y="107"/>
                  </a:cubicBezTo>
                  <a:cubicBezTo>
                    <a:pt x="145" y="105"/>
                    <a:pt x="145" y="105"/>
                    <a:pt x="145" y="105"/>
                  </a:cubicBezTo>
                  <a:cubicBezTo>
                    <a:pt x="152" y="107"/>
                    <a:pt x="152" y="107"/>
                    <a:pt x="152" y="107"/>
                  </a:cubicBezTo>
                  <a:cubicBezTo>
                    <a:pt x="154" y="111"/>
                    <a:pt x="154" y="111"/>
                    <a:pt x="154" y="111"/>
                  </a:cubicBezTo>
                  <a:cubicBezTo>
                    <a:pt x="151" y="117"/>
                    <a:pt x="151" y="117"/>
                    <a:pt x="151" y="117"/>
                  </a:cubicBezTo>
                  <a:cubicBezTo>
                    <a:pt x="148" y="119"/>
                    <a:pt x="148" y="119"/>
                    <a:pt x="148" y="119"/>
                  </a:cubicBezTo>
                  <a:lnTo>
                    <a:pt x="151" y="121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2" name="Freeform 29"/>
            <p:cNvSpPr>
              <a:spLocks/>
            </p:cNvSpPr>
            <p:nvPr/>
          </p:nvSpPr>
          <p:spPr bwMode="auto">
            <a:xfrm>
              <a:off x="1198" y="3555"/>
              <a:ext cx="269" cy="271"/>
            </a:xfrm>
            <a:custGeom>
              <a:avLst/>
              <a:gdLst>
                <a:gd name="T0" fmla="*/ 129 w 129"/>
                <a:gd name="T1" fmla="*/ 101 h 130"/>
                <a:gd name="T2" fmla="*/ 119 w 129"/>
                <a:gd name="T3" fmla="*/ 105 h 130"/>
                <a:gd name="T4" fmla="*/ 102 w 129"/>
                <a:gd name="T5" fmla="*/ 105 h 130"/>
                <a:gd name="T6" fmla="*/ 95 w 129"/>
                <a:gd name="T7" fmla="*/ 105 h 130"/>
                <a:gd name="T8" fmla="*/ 83 w 129"/>
                <a:gd name="T9" fmla="*/ 107 h 130"/>
                <a:gd name="T10" fmla="*/ 73 w 129"/>
                <a:gd name="T11" fmla="*/ 121 h 130"/>
                <a:gd name="T12" fmla="*/ 58 w 129"/>
                <a:gd name="T13" fmla="*/ 119 h 130"/>
                <a:gd name="T14" fmla="*/ 58 w 129"/>
                <a:gd name="T15" fmla="*/ 100 h 130"/>
                <a:gd name="T16" fmla="*/ 50 w 129"/>
                <a:gd name="T17" fmla="*/ 102 h 130"/>
                <a:gd name="T18" fmla="*/ 49 w 129"/>
                <a:gd name="T19" fmla="*/ 92 h 130"/>
                <a:gd name="T20" fmla="*/ 46 w 129"/>
                <a:gd name="T21" fmla="*/ 89 h 130"/>
                <a:gd name="T22" fmla="*/ 45 w 129"/>
                <a:gd name="T23" fmla="*/ 84 h 130"/>
                <a:gd name="T24" fmla="*/ 40 w 129"/>
                <a:gd name="T25" fmla="*/ 83 h 130"/>
                <a:gd name="T26" fmla="*/ 37 w 129"/>
                <a:gd name="T27" fmla="*/ 81 h 130"/>
                <a:gd name="T28" fmla="*/ 37 w 129"/>
                <a:gd name="T29" fmla="*/ 75 h 130"/>
                <a:gd name="T30" fmla="*/ 32 w 129"/>
                <a:gd name="T31" fmla="*/ 73 h 130"/>
                <a:gd name="T32" fmla="*/ 28 w 129"/>
                <a:gd name="T33" fmla="*/ 75 h 130"/>
                <a:gd name="T34" fmla="*/ 24 w 129"/>
                <a:gd name="T35" fmla="*/ 70 h 130"/>
                <a:gd name="T36" fmla="*/ 29 w 129"/>
                <a:gd name="T37" fmla="*/ 64 h 130"/>
                <a:gd name="T38" fmla="*/ 30 w 129"/>
                <a:gd name="T39" fmla="*/ 56 h 130"/>
                <a:gd name="T40" fmla="*/ 19 w 129"/>
                <a:gd name="T41" fmla="*/ 46 h 130"/>
                <a:gd name="T42" fmla="*/ 15 w 129"/>
                <a:gd name="T43" fmla="*/ 48 h 130"/>
                <a:gd name="T44" fmla="*/ 14 w 129"/>
                <a:gd name="T45" fmla="*/ 44 h 130"/>
                <a:gd name="T46" fmla="*/ 8 w 129"/>
                <a:gd name="T47" fmla="*/ 41 h 130"/>
                <a:gd name="T48" fmla="*/ 2 w 129"/>
                <a:gd name="T49" fmla="*/ 40 h 130"/>
                <a:gd name="T50" fmla="*/ 0 w 129"/>
                <a:gd name="T51" fmla="*/ 26 h 130"/>
                <a:gd name="T52" fmla="*/ 0 w 129"/>
                <a:gd name="T53" fmla="*/ 26 h 130"/>
                <a:gd name="T54" fmla="*/ 3 w 129"/>
                <a:gd name="T55" fmla="*/ 23 h 130"/>
                <a:gd name="T56" fmla="*/ 0 w 129"/>
                <a:gd name="T57" fmla="*/ 17 h 130"/>
                <a:gd name="T58" fmla="*/ 7 w 129"/>
                <a:gd name="T59" fmla="*/ 15 h 130"/>
                <a:gd name="T60" fmla="*/ 22 w 129"/>
                <a:gd name="T61" fmla="*/ 4 h 130"/>
                <a:gd name="T62" fmla="*/ 24 w 129"/>
                <a:gd name="T63" fmla="*/ 0 h 130"/>
                <a:gd name="T64" fmla="*/ 27 w 129"/>
                <a:gd name="T65" fmla="*/ 5 h 130"/>
                <a:gd name="T66" fmla="*/ 30 w 129"/>
                <a:gd name="T67" fmla="*/ 7 h 130"/>
                <a:gd name="T68" fmla="*/ 30 w 129"/>
                <a:gd name="T69" fmla="*/ 12 h 130"/>
                <a:gd name="T70" fmla="*/ 41 w 129"/>
                <a:gd name="T71" fmla="*/ 19 h 130"/>
                <a:gd name="T72" fmla="*/ 48 w 129"/>
                <a:gd name="T73" fmla="*/ 19 h 130"/>
                <a:gd name="T74" fmla="*/ 52 w 129"/>
                <a:gd name="T75" fmla="*/ 25 h 130"/>
                <a:gd name="T76" fmla="*/ 70 w 129"/>
                <a:gd name="T77" fmla="*/ 36 h 130"/>
                <a:gd name="T78" fmla="*/ 76 w 129"/>
                <a:gd name="T79" fmla="*/ 35 h 130"/>
                <a:gd name="T80" fmla="*/ 79 w 129"/>
                <a:gd name="T81" fmla="*/ 34 h 130"/>
                <a:gd name="T82" fmla="*/ 83 w 129"/>
                <a:gd name="T83" fmla="*/ 38 h 130"/>
                <a:gd name="T84" fmla="*/ 90 w 129"/>
                <a:gd name="T85" fmla="*/ 49 h 130"/>
                <a:gd name="T86" fmla="*/ 102 w 129"/>
                <a:gd name="T87" fmla="*/ 49 h 130"/>
                <a:gd name="T88" fmla="*/ 108 w 129"/>
                <a:gd name="T89" fmla="*/ 56 h 130"/>
                <a:gd name="T90" fmla="*/ 110 w 129"/>
                <a:gd name="T91" fmla="*/ 65 h 130"/>
                <a:gd name="T92" fmla="*/ 115 w 129"/>
                <a:gd name="T93" fmla="*/ 67 h 130"/>
                <a:gd name="T94" fmla="*/ 119 w 129"/>
                <a:gd name="T95" fmla="*/ 76 h 130"/>
                <a:gd name="T96" fmla="*/ 124 w 129"/>
                <a:gd name="T97" fmla="*/ 82 h 130"/>
                <a:gd name="T98" fmla="*/ 123 w 129"/>
                <a:gd name="T99" fmla="*/ 87 h 130"/>
                <a:gd name="T100" fmla="*/ 129 w 129"/>
                <a:gd name="T101" fmla="*/ 97 h 130"/>
                <a:gd name="T102" fmla="*/ 129 w 129"/>
                <a:gd name="T103" fmla="*/ 10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" h="130">
                  <a:moveTo>
                    <a:pt x="129" y="101"/>
                  </a:moveTo>
                  <a:cubicBezTo>
                    <a:pt x="126" y="100"/>
                    <a:pt x="122" y="103"/>
                    <a:pt x="119" y="105"/>
                  </a:cubicBezTo>
                  <a:cubicBezTo>
                    <a:pt x="114" y="107"/>
                    <a:pt x="103" y="107"/>
                    <a:pt x="102" y="105"/>
                  </a:cubicBezTo>
                  <a:cubicBezTo>
                    <a:pt x="101" y="103"/>
                    <a:pt x="97" y="101"/>
                    <a:pt x="95" y="105"/>
                  </a:cubicBezTo>
                  <a:cubicBezTo>
                    <a:pt x="93" y="110"/>
                    <a:pt x="90" y="108"/>
                    <a:pt x="83" y="107"/>
                  </a:cubicBezTo>
                  <a:cubicBezTo>
                    <a:pt x="76" y="105"/>
                    <a:pt x="74" y="112"/>
                    <a:pt x="73" y="121"/>
                  </a:cubicBezTo>
                  <a:cubicBezTo>
                    <a:pt x="71" y="130"/>
                    <a:pt x="58" y="123"/>
                    <a:pt x="58" y="119"/>
                  </a:cubicBezTo>
                  <a:cubicBezTo>
                    <a:pt x="59" y="115"/>
                    <a:pt x="59" y="106"/>
                    <a:pt x="58" y="100"/>
                  </a:cubicBezTo>
                  <a:cubicBezTo>
                    <a:pt x="57" y="96"/>
                    <a:pt x="54" y="99"/>
                    <a:pt x="50" y="102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75"/>
                    <a:pt x="37" y="75"/>
                    <a:pt x="37" y="75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1" y="43"/>
                    <a:pt x="8" y="41"/>
                  </a:cubicBezTo>
                  <a:cubicBezTo>
                    <a:pt x="6" y="39"/>
                    <a:pt x="2" y="40"/>
                    <a:pt x="2" y="4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5" y="67"/>
                    <a:pt x="115" y="67"/>
                    <a:pt x="115" y="67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4" y="82"/>
                    <a:pt x="124" y="82"/>
                    <a:pt x="124" y="82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9" y="97"/>
                    <a:pt x="129" y="97"/>
                    <a:pt x="129" y="97"/>
                  </a:cubicBezTo>
                  <a:lnTo>
                    <a:pt x="129" y="101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3" name="Freeform 30"/>
            <p:cNvSpPr>
              <a:spLocks/>
            </p:cNvSpPr>
            <p:nvPr/>
          </p:nvSpPr>
          <p:spPr bwMode="auto">
            <a:xfrm>
              <a:off x="1417" y="3614"/>
              <a:ext cx="173" cy="143"/>
            </a:xfrm>
            <a:custGeom>
              <a:avLst/>
              <a:gdLst>
                <a:gd name="T0" fmla="*/ 0 w 83"/>
                <a:gd name="T1" fmla="*/ 24 h 69"/>
                <a:gd name="T2" fmla="*/ 8 w 83"/>
                <a:gd name="T3" fmla="*/ 22 h 69"/>
                <a:gd name="T4" fmla="*/ 7 w 83"/>
                <a:gd name="T5" fmla="*/ 17 h 69"/>
                <a:gd name="T6" fmla="*/ 4 w 83"/>
                <a:gd name="T7" fmla="*/ 11 h 69"/>
                <a:gd name="T8" fmla="*/ 7 w 83"/>
                <a:gd name="T9" fmla="*/ 5 h 69"/>
                <a:gd name="T10" fmla="*/ 13 w 83"/>
                <a:gd name="T11" fmla="*/ 4 h 69"/>
                <a:gd name="T12" fmla="*/ 20 w 83"/>
                <a:gd name="T13" fmla="*/ 0 h 69"/>
                <a:gd name="T14" fmla="*/ 24 w 83"/>
                <a:gd name="T15" fmla="*/ 6 h 69"/>
                <a:gd name="T16" fmla="*/ 30 w 83"/>
                <a:gd name="T17" fmla="*/ 3 h 69"/>
                <a:gd name="T18" fmla="*/ 36 w 83"/>
                <a:gd name="T19" fmla="*/ 6 h 69"/>
                <a:gd name="T20" fmla="*/ 41 w 83"/>
                <a:gd name="T21" fmla="*/ 14 h 69"/>
                <a:gd name="T22" fmla="*/ 50 w 83"/>
                <a:gd name="T23" fmla="*/ 8 h 69"/>
                <a:gd name="T24" fmla="*/ 55 w 83"/>
                <a:gd name="T25" fmla="*/ 0 h 69"/>
                <a:gd name="T26" fmla="*/ 64 w 83"/>
                <a:gd name="T27" fmla="*/ 9 h 69"/>
                <a:gd name="T28" fmla="*/ 70 w 83"/>
                <a:gd name="T29" fmla="*/ 4 h 69"/>
                <a:gd name="T30" fmla="*/ 83 w 83"/>
                <a:gd name="T31" fmla="*/ 12 h 69"/>
                <a:gd name="T32" fmla="*/ 81 w 83"/>
                <a:gd name="T33" fmla="*/ 18 h 69"/>
                <a:gd name="T34" fmla="*/ 83 w 83"/>
                <a:gd name="T35" fmla="*/ 23 h 69"/>
                <a:gd name="T36" fmla="*/ 83 w 83"/>
                <a:gd name="T37" fmla="*/ 23 h 69"/>
                <a:gd name="T38" fmla="*/ 82 w 83"/>
                <a:gd name="T39" fmla="*/ 29 h 69"/>
                <a:gd name="T40" fmla="*/ 79 w 83"/>
                <a:gd name="T41" fmla="*/ 34 h 69"/>
                <a:gd name="T42" fmla="*/ 67 w 83"/>
                <a:gd name="T43" fmla="*/ 44 h 69"/>
                <a:gd name="T44" fmla="*/ 61 w 83"/>
                <a:gd name="T45" fmla="*/ 54 h 69"/>
                <a:gd name="T46" fmla="*/ 53 w 83"/>
                <a:gd name="T47" fmla="*/ 56 h 69"/>
                <a:gd name="T48" fmla="*/ 51 w 83"/>
                <a:gd name="T49" fmla="*/ 59 h 69"/>
                <a:gd name="T50" fmla="*/ 43 w 83"/>
                <a:gd name="T51" fmla="*/ 61 h 69"/>
                <a:gd name="T52" fmla="*/ 38 w 83"/>
                <a:gd name="T53" fmla="*/ 69 h 69"/>
                <a:gd name="T54" fmla="*/ 24 w 83"/>
                <a:gd name="T55" fmla="*/ 69 h 69"/>
                <a:gd name="T56" fmla="*/ 24 w 83"/>
                <a:gd name="T57" fmla="*/ 69 h 69"/>
                <a:gd name="T58" fmla="*/ 18 w 83"/>
                <a:gd name="T59" fmla="*/ 59 h 69"/>
                <a:gd name="T60" fmla="*/ 19 w 83"/>
                <a:gd name="T61" fmla="*/ 54 h 69"/>
                <a:gd name="T62" fmla="*/ 14 w 83"/>
                <a:gd name="T63" fmla="*/ 48 h 69"/>
                <a:gd name="T64" fmla="*/ 10 w 83"/>
                <a:gd name="T65" fmla="*/ 39 h 69"/>
                <a:gd name="T66" fmla="*/ 5 w 83"/>
                <a:gd name="T67" fmla="*/ 37 h 69"/>
                <a:gd name="T68" fmla="*/ 3 w 83"/>
                <a:gd name="T69" fmla="*/ 28 h 69"/>
                <a:gd name="T70" fmla="*/ 0 w 83"/>
                <a:gd name="T71" fmla="*/ 2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3" h="69">
                  <a:moveTo>
                    <a:pt x="0" y="24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4" y="12"/>
                    <a:pt x="4" y="11"/>
                  </a:cubicBezTo>
                  <a:cubicBezTo>
                    <a:pt x="4" y="10"/>
                    <a:pt x="7" y="5"/>
                    <a:pt x="7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70" y="4"/>
                    <a:pt x="70" y="4"/>
                    <a:pt x="70" y="4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3" y="28"/>
                    <a:pt x="3" y="28"/>
                    <a:pt x="3" y="28"/>
                  </a:cubicBezTo>
                  <a:lnTo>
                    <a:pt x="0" y="24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4" name="Freeform 31"/>
            <p:cNvSpPr>
              <a:spLocks/>
            </p:cNvSpPr>
            <p:nvPr/>
          </p:nvSpPr>
          <p:spPr bwMode="auto">
            <a:xfrm>
              <a:off x="1371" y="3532"/>
              <a:ext cx="160" cy="132"/>
            </a:xfrm>
            <a:custGeom>
              <a:avLst/>
              <a:gdLst>
                <a:gd name="T0" fmla="*/ 7 w 77"/>
                <a:gd name="T1" fmla="*/ 9 h 63"/>
                <a:gd name="T2" fmla="*/ 12 w 77"/>
                <a:gd name="T3" fmla="*/ 4 h 63"/>
                <a:gd name="T4" fmla="*/ 18 w 77"/>
                <a:gd name="T5" fmla="*/ 9 h 63"/>
                <a:gd name="T6" fmla="*/ 28 w 77"/>
                <a:gd name="T7" fmla="*/ 8 h 63"/>
                <a:gd name="T8" fmla="*/ 27 w 77"/>
                <a:gd name="T9" fmla="*/ 2 h 63"/>
                <a:gd name="T10" fmla="*/ 30 w 77"/>
                <a:gd name="T11" fmla="*/ 0 h 63"/>
                <a:gd name="T12" fmla="*/ 39 w 77"/>
                <a:gd name="T13" fmla="*/ 6 h 63"/>
                <a:gd name="T14" fmla="*/ 39 w 77"/>
                <a:gd name="T15" fmla="*/ 11 h 63"/>
                <a:gd name="T16" fmla="*/ 45 w 77"/>
                <a:gd name="T17" fmla="*/ 10 h 63"/>
                <a:gd name="T18" fmla="*/ 49 w 77"/>
                <a:gd name="T19" fmla="*/ 11 h 63"/>
                <a:gd name="T20" fmla="*/ 61 w 77"/>
                <a:gd name="T21" fmla="*/ 22 h 63"/>
                <a:gd name="T22" fmla="*/ 64 w 77"/>
                <a:gd name="T23" fmla="*/ 21 h 63"/>
                <a:gd name="T24" fmla="*/ 67 w 77"/>
                <a:gd name="T25" fmla="*/ 19 h 63"/>
                <a:gd name="T26" fmla="*/ 70 w 77"/>
                <a:gd name="T27" fmla="*/ 24 h 63"/>
                <a:gd name="T28" fmla="*/ 71 w 77"/>
                <a:gd name="T29" fmla="*/ 30 h 63"/>
                <a:gd name="T30" fmla="*/ 77 w 77"/>
                <a:gd name="T31" fmla="*/ 37 h 63"/>
                <a:gd name="T32" fmla="*/ 77 w 77"/>
                <a:gd name="T33" fmla="*/ 40 h 63"/>
                <a:gd name="T34" fmla="*/ 77 w 77"/>
                <a:gd name="T35" fmla="*/ 39 h 63"/>
                <a:gd name="T36" fmla="*/ 72 w 77"/>
                <a:gd name="T37" fmla="*/ 47 h 63"/>
                <a:gd name="T38" fmla="*/ 63 w 77"/>
                <a:gd name="T39" fmla="*/ 53 h 63"/>
                <a:gd name="T40" fmla="*/ 58 w 77"/>
                <a:gd name="T41" fmla="*/ 45 h 63"/>
                <a:gd name="T42" fmla="*/ 52 w 77"/>
                <a:gd name="T43" fmla="*/ 42 h 63"/>
                <a:gd name="T44" fmla="*/ 46 w 77"/>
                <a:gd name="T45" fmla="*/ 45 h 63"/>
                <a:gd name="T46" fmla="*/ 42 w 77"/>
                <a:gd name="T47" fmla="*/ 39 h 63"/>
                <a:gd name="T48" fmla="*/ 35 w 77"/>
                <a:gd name="T49" fmla="*/ 43 h 63"/>
                <a:gd name="T50" fmla="*/ 29 w 77"/>
                <a:gd name="T51" fmla="*/ 44 h 63"/>
                <a:gd name="T52" fmla="*/ 26 w 77"/>
                <a:gd name="T53" fmla="*/ 50 h 63"/>
                <a:gd name="T54" fmla="*/ 29 w 77"/>
                <a:gd name="T55" fmla="*/ 56 h 63"/>
                <a:gd name="T56" fmla="*/ 30 w 77"/>
                <a:gd name="T57" fmla="*/ 61 h 63"/>
                <a:gd name="T58" fmla="*/ 22 w 77"/>
                <a:gd name="T59" fmla="*/ 63 h 63"/>
                <a:gd name="T60" fmla="*/ 19 w 77"/>
                <a:gd name="T61" fmla="*/ 60 h 63"/>
                <a:gd name="T62" fmla="*/ 7 w 77"/>
                <a:gd name="T63" fmla="*/ 60 h 63"/>
                <a:gd name="T64" fmla="*/ 0 w 77"/>
                <a:gd name="T65" fmla="*/ 49 h 63"/>
                <a:gd name="T66" fmla="*/ 0 w 77"/>
                <a:gd name="T67" fmla="*/ 49 h 63"/>
                <a:gd name="T68" fmla="*/ 9 w 77"/>
                <a:gd name="T69" fmla="*/ 38 h 63"/>
                <a:gd name="T70" fmla="*/ 12 w 77"/>
                <a:gd name="T71" fmla="*/ 32 h 63"/>
                <a:gd name="T72" fmla="*/ 8 w 77"/>
                <a:gd name="T73" fmla="*/ 29 h 63"/>
                <a:gd name="T74" fmla="*/ 10 w 77"/>
                <a:gd name="T75" fmla="*/ 23 h 63"/>
                <a:gd name="T76" fmla="*/ 12 w 77"/>
                <a:gd name="T77" fmla="*/ 17 h 63"/>
                <a:gd name="T78" fmla="*/ 10 w 77"/>
                <a:gd name="T79" fmla="*/ 10 h 63"/>
                <a:gd name="T80" fmla="*/ 7 w 77"/>
                <a:gd name="T81" fmla="*/ 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7" h="63">
                  <a:moveTo>
                    <a:pt x="7" y="9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9" y="44"/>
                    <a:pt x="26" y="49"/>
                    <a:pt x="26" y="50"/>
                  </a:cubicBezTo>
                  <a:cubicBezTo>
                    <a:pt x="26" y="51"/>
                    <a:pt x="29" y="56"/>
                    <a:pt x="29" y="5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3"/>
                    <a:pt x="12" y="17"/>
                    <a:pt x="12" y="17"/>
                  </a:cubicBezTo>
                  <a:cubicBezTo>
                    <a:pt x="12" y="16"/>
                    <a:pt x="10" y="10"/>
                    <a:pt x="10" y="10"/>
                  </a:cubicBezTo>
                  <a:lnTo>
                    <a:pt x="7" y="9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5" name="Freeform 32"/>
            <p:cNvSpPr>
              <a:spLocks/>
            </p:cNvSpPr>
            <p:nvPr/>
          </p:nvSpPr>
          <p:spPr bwMode="auto">
            <a:xfrm>
              <a:off x="1373" y="3218"/>
              <a:ext cx="248" cy="139"/>
            </a:xfrm>
            <a:custGeom>
              <a:avLst/>
              <a:gdLst>
                <a:gd name="T0" fmla="*/ 56 w 248"/>
                <a:gd name="T1" fmla="*/ 12 h 139"/>
                <a:gd name="T2" fmla="*/ 83 w 248"/>
                <a:gd name="T3" fmla="*/ 2 h 139"/>
                <a:gd name="T4" fmla="*/ 104 w 248"/>
                <a:gd name="T5" fmla="*/ 6 h 139"/>
                <a:gd name="T6" fmla="*/ 116 w 248"/>
                <a:gd name="T7" fmla="*/ 0 h 139"/>
                <a:gd name="T8" fmla="*/ 131 w 248"/>
                <a:gd name="T9" fmla="*/ 23 h 139"/>
                <a:gd name="T10" fmla="*/ 148 w 248"/>
                <a:gd name="T11" fmla="*/ 27 h 139"/>
                <a:gd name="T12" fmla="*/ 162 w 248"/>
                <a:gd name="T13" fmla="*/ 41 h 139"/>
                <a:gd name="T14" fmla="*/ 166 w 248"/>
                <a:gd name="T15" fmla="*/ 52 h 139"/>
                <a:gd name="T16" fmla="*/ 189 w 248"/>
                <a:gd name="T17" fmla="*/ 62 h 139"/>
                <a:gd name="T18" fmla="*/ 200 w 248"/>
                <a:gd name="T19" fmla="*/ 81 h 139"/>
                <a:gd name="T20" fmla="*/ 208 w 248"/>
                <a:gd name="T21" fmla="*/ 75 h 139"/>
                <a:gd name="T22" fmla="*/ 221 w 248"/>
                <a:gd name="T23" fmla="*/ 79 h 139"/>
                <a:gd name="T24" fmla="*/ 231 w 248"/>
                <a:gd name="T25" fmla="*/ 62 h 139"/>
                <a:gd name="T26" fmla="*/ 248 w 248"/>
                <a:gd name="T27" fmla="*/ 79 h 139"/>
                <a:gd name="T28" fmla="*/ 242 w 248"/>
                <a:gd name="T29" fmla="*/ 85 h 139"/>
                <a:gd name="T30" fmla="*/ 239 w 248"/>
                <a:gd name="T31" fmla="*/ 121 h 139"/>
                <a:gd name="T32" fmla="*/ 219 w 248"/>
                <a:gd name="T33" fmla="*/ 121 h 139"/>
                <a:gd name="T34" fmla="*/ 208 w 248"/>
                <a:gd name="T35" fmla="*/ 127 h 139"/>
                <a:gd name="T36" fmla="*/ 202 w 248"/>
                <a:gd name="T37" fmla="*/ 123 h 139"/>
                <a:gd name="T38" fmla="*/ 185 w 248"/>
                <a:gd name="T39" fmla="*/ 127 h 139"/>
                <a:gd name="T40" fmla="*/ 175 w 248"/>
                <a:gd name="T41" fmla="*/ 139 h 139"/>
                <a:gd name="T42" fmla="*/ 171 w 248"/>
                <a:gd name="T43" fmla="*/ 133 h 139"/>
                <a:gd name="T44" fmla="*/ 152 w 248"/>
                <a:gd name="T45" fmla="*/ 133 h 139"/>
                <a:gd name="T46" fmla="*/ 141 w 248"/>
                <a:gd name="T47" fmla="*/ 116 h 139"/>
                <a:gd name="T48" fmla="*/ 131 w 248"/>
                <a:gd name="T49" fmla="*/ 114 h 139"/>
                <a:gd name="T50" fmla="*/ 116 w 248"/>
                <a:gd name="T51" fmla="*/ 125 h 139"/>
                <a:gd name="T52" fmla="*/ 106 w 248"/>
                <a:gd name="T53" fmla="*/ 123 h 139"/>
                <a:gd name="T54" fmla="*/ 102 w 248"/>
                <a:gd name="T55" fmla="*/ 131 h 139"/>
                <a:gd name="T56" fmla="*/ 94 w 248"/>
                <a:gd name="T57" fmla="*/ 127 h 139"/>
                <a:gd name="T58" fmla="*/ 83 w 248"/>
                <a:gd name="T59" fmla="*/ 127 h 139"/>
                <a:gd name="T60" fmla="*/ 85 w 248"/>
                <a:gd name="T61" fmla="*/ 112 h 139"/>
                <a:gd name="T62" fmla="*/ 69 w 248"/>
                <a:gd name="T63" fmla="*/ 102 h 139"/>
                <a:gd name="T64" fmla="*/ 73 w 248"/>
                <a:gd name="T65" fmla="*/ 87 h 139"/>
                <a:gd name="T66" fmla="*/ 58 w 248"/>
                <a:gd name="T67" fmla="*/ 87 h 139"/>
                <a:gd name="T68" fmla="*/ 44 w 248"/>
                <a:gd name="T69" fmla="*/ 75 h 139"/>
                <a:gd name="T70" fmla="*/ 41 w 248"/>
                <a:gd name="T71" fmla="*/ 64 h 139"/>
                <a:gd name="T72" fmla="*/ 35 w 248"/>
                <a:gd name="T73" fmla="*/ 64 h 139"/>
                <a:gd name="T74" fmla="*/ 27 w 248"/>
                <a:gd name="T75" fmla="*/ 73 h 139"/>
                <a:gd name="T76" fmla="*/ 19 w 248"/>
                <a:gd name="T77" fmla="*/ 68 h 139"/>
                <a:gd name="T78" fmla="*/ 8 w 248"/>
                <a:gd name="T79" fmla="*/ 68 h 139"/>
                <a:gd name="T80" fmla="*/ 0 w 248"/>
                <a:gd name="T81" fmla="*/ 54 h 139"/>
                <a:gd name="T82" fmla="*/ 2 w 248"/>
                <a:gd name="T83" fmla="*/ 50 h 139"/>
                <a:gd name="T84" fmla="*/ 12 w 248"/>
                <a:gd name="T85" fmla="*/ 50 h 139"/>
                <a:gd name="T86" fmla="*/ 27 w 248"/>
                <a:gd name="T87" fmla="*/ 33 h 139"/>
                <a:gd name="T88" fmla="*/ 35 w 248"/>
                <a:gd name="T89" fmla="*/ 35 h 139"/>
                <a:gd name="T90" fmla="*/ 39 w 248"/>
                <a:gd name="T91" fmla="*/ 25 h 139"/>
                <a:gd name="T92" fmla="*/ 54 w 248"/>
                <a:gd name="T93" fmla="*/ 25 h 139"/>
                <a:gd name="T94" fmla="*/ 56 w 248"/>
                <a:gd name="T9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8" h="139">
                  <a:moveTo>
                    <a:pt x="56" y="12"/>
                  </a:moveTo>
                  <a:lnTo>
                    <a:pt x="83" y="2"/>
                  </a:lnTo>
                  <a:lnTo>
                    <a:pt x="104" y="6"/>
                  </a:lnTo>
                  <a:lnTo>
                    <a:pt x="116" y="0"/>
                  </a:lnTo>
                  <a:lnTo>
                    <a:pt x="131" y="23"/>
                  </a:lnTo>
                  <a:lnTo>
                    <a:pt x="148" y="27"/>
                  </a:lnTo>
                  <a:lnTo>
                    <a:pt x="162" y="41"/>
                  </a:lnTo>
                  <a:lnTo>
                    <a:pt x="166" y="52"/>
                  </a:lnTo>
                  <a:lnTo>
                    <a:pt x="189" y="62"/>
                  </a:lnTo>
                  <a:lnTo>
                    <a:pt x="200" y="81"/>
                  </a:lnTo>
                  <a:lnTo>
                    <a:pt x="208" y="75"/>
                  </a:lnTo>
                  <a:lnTo>
                    <a:pt x="221" y="79"/>
                  </a:lnTo>
                  <a:lnTo>
                    <a:pt x="231" y="62"/>
                  </a:lnTo>
                  <a:lnTo>
                    <a:pt x="248" y="79"/>
                  </a:lnTo>
                  <a:lnTo>
                    <a:pt x="242" y="85"/>
                  </a:lnTo>
                  <a:lnTo>
                    <a:pt x="239" y="121"/>
                  </a:lnTo>
                  <a:lnTo>
                    <a:pt x="219" y="121"/>
                  </a:lnTo>
                  <a:lnTo>
                    <a:pt x="208" y="127"/>
                  </a:lnTo>
                  <a:lnTo>
                    <a:pt x="202" y="123"/>
                  </a:lnTo>
                  <a:lnTo>
                    <a:pt x="185" y="127"/>
                  </a:lnTo>
                  <a:lnTo>
                    <a:pt x="175" y="139"/>
                  </a:lnTo>
                  <a:lnTo>
                    <a:pt x="171" y="133"/>
                  </a:lnTo>
                  <a:lnTo>
                    <a:pt x="152" y="133"/>
                  </a:lnTo>
                  <a:lnTo>
                    <a:pt x="141" y="116"/>
                  </a:lnTo>
                  <a:lnTo>
                    <a:pt x="131" y="114"/>
                  </a:lnTo>
                  <a:lnTo>
                    <a:pt x="116" y="125"/>
                  </a:lnTo>
                  <a:lnTo>
                    <a:pt x="106" y="123"/>
                  </a:lnTo>
                  <a:lnTo>
                    <a:pt x="102" y="131"/>
                  </a:lnTo>
                  <a:lnTo>
                    <a:pt x="94" y="127"/>
                  </a:lnTo>
                  <a:lnTo>
                    <a:pt x="83" y="127"/>
                  </a:lnTo>
                  <a:lnTo>
                    <a:pt x="85" y="112"/>
                  </a:lnTo>
                  <a:lnTo>
                    <a:pt x="69" y="102"/>
                  </a:lnTo>
                  <a:lnTo>
                    <a:pt x="73" y="87"/>
                  </a:lnTo>
                  <a:lnTo>
                    <a:pt x="58" y="87"/>
                  </a:lnTo>
                  <a:lnTo>
                    <a:pt x="44" y="75"/>
                  </a:lnTo>
                  <a:lnTo>
                    <a:pt x="41" y="64"/>
                  </a:lnTo>
                  <a:lnTo>
                    <a:pt x="35" y="64"/>
                  </a:lnTo>
                  <a:lnTo>
                    <a:pt x="27" y="73"/>
                  </a:lnTo>
                  <a:lnTo>
                    <a:pt x="19" y="68"/>
                  </a:lnTo>
                  <a:lnTo>
                    <a:pt x="8" y="68"/>
                  </a:lnTo>
                  <a:lnTo>
                    <a:pt x="0" y="54"/>
                  </a:lnTo>
                  <a:lnTo>
                    <a:pt x="2" y="50"/>
                  </a:lnTo>
                  <a:lnTo>
                    <a:pt x="12" y="50"/>
                  </a:lnTo>
                  <a:lnTo>
                    <a:pt x="27" y="33"/>
                  </a:lnTo>
                  <a:lnTo>
                    <a:pt x="35" y="35"/>
                  </a:lnTo>
                  <a:lnTo>
                    <a:pt x="39" y="25"/>
                  </a:lnTo>
                  <a:lnTo>
                    <a:pt x="54" y="25"/>
                  </a:lnTo>
                  <a:lnTo>
                    <a:pt x="56" y="12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6" name="Freeform 33"/>
            <p:cNvSpPr>
              <a:spLocks/>
            </p:cNvSpPr>
            <p:nvPr/>
          </p:nvSpPr>
          <p:spPr bwMode="auto">
            <a:xfrm>
              <a:off x="1323" y="3268"/>
              <a:ext cx="135" cy="118"/>
            </a:xfrm>
            <a:custGeom>
              <a:avLst/>
              <a:gdLst>
                <a:gd name="T0" fmla="*/ 133 w 135"/>
                <a:gd name="T1" fmla="*/ 77 h 118"/>
                <a:gd name="T2" fmla="*/ 116 w 135"/>
                <a:gd name="T3" fmla="*/ 77 h 118"/>
                <a:gd name="T4" fmla="*/ 116 w 135"/>
                <a:gd name="T5" fmla="*/ 89 h 118"/>
                <a:gd name="T6" fmla="*/ 100 w 135"/>
                <a:gd name="T7" fmla="*/ 89 h 118"/>
                <a:gd name="T8" fmla="*/ 89 w 135"/>
                <a:gd name="T9" fmla="*/ 79 h 118"/>
                <a:gd name="T10" fmla="*/ 81 w 135"/>
                <a:gd name="T11" fmla="*/ 87 h 118"/>
                <a:gd name="T12" fmla="*/ 77 w 135"/>
                <a:gd name="T13" fmla="*/ 102 h 118"/>
                <a:gd name="T14" fmla="*/ 66 w 135"/>
                <a:gd name="T15" fmla="*/ 112 h 118"/>
                <a:gd name="T16" fmla="*/ 50 w 135"/>
                <a:gd name="T17" fmla="*/ 114 h 118"/>
                <a:gd name="T18" fmla="*/ 37 w 135"/>
                <a:gd name="T19" fmla="*/ 118 h 118"/>
                <a:gd name="T20" fmla="*/ 41 w 135"/>
                <a:gd name="T21" fmla="*/ 116 h 118"/>
                <a:gd name="T22" fmla="*/ 48 w 135"/>
                <a:gd name="T23" fmla="*/ 75 h 118"/>
                <a:gd name="T24" fmla="*/ 21 w 135"/>
                <a:gd name="T25" fmla="*/ 46 h 118"/>
                <a:gd name="T26" fmla="*/ 4 w 135"/>
                <a:gd name="T27" fmla="*/ 41 h 118"/>
                <a:gd name="T28" fmla="*/ 4 w 135"/>
                <a:gd name="T29" fmla="*/ 31 h 118"/>
                <a:gd name="T30" fmla="*/ 8 w 135"/>
                <a:gd name="T31" fmla="*/ 16 h 118"/>
                <a:gd name="T32" fmla="*/ 0 w 135"/>
                <a:gd name="T33" fmla="*/ 8 h 118"/>
                <a:gd name="T34" fmla="*/ 10 w 135"/>
                <a:gd name="T35" fmla="*/ 0 h 118"/>
                <a:gd name="T36" fmla="*/ 31 w 135"/>
                <a:gd name="T37" fmla="*/ 0 h 118"/>
                <a:gd name="T38" fmla="*/ 35 w 135"/>
                <a:gd name="T39" fmla="*/ 6 h 118"/>
                <a:gd name="T40" fmla="*/ 50 w 135"/>
                <a:gd name="T41" fmla="*/ 8 h 118"/>
                <a:gd name="T42" fmla="*/ 50 w 135"/>
                <a:gd name="T43" fmla="*/ 4 h 118"/>
                <a:gd name="T44" fmla="*/ 58 w 135"/>
                <a:gd name="T45" fmla="*/ 18 h 118"/>
                <a:gd name="T46" fmla="*/ 69 w 135"/>
                <a:gd name="T47" fmla="*/ 18 h 118"/>
                <a:gd name="T48" fmla="*/ 77 w 135"/>
                <a:gd name="T49" fmla="*/ 23 h 118"/>
                <a:gd name="T50" fmla="*/ 85 w 135"/>
                <a:gd name="T51" fmla="*/ 14 h 118"/>
                <a:gd name="T52" fmla="*/ 91 w 135"/>
                <a:gd name="T53" fmla="*/ 14 h 118"/>
                <a:gd name="T54" fmla="*/ 94 w 135"/>
                <a:gd name="T55" fmla="*/ 25 h 118"/>
                <a:gd name="T56" fmla="*/ 108 w 135"/>
                <a:gd name="T57" fmla="*/ 37 h 118"/>
                <a:gd name="T58" fmla="*/ 123 w 135"/>
                <a:gd name="T59" fmla="*/ 37 h 118"/>
                <a:gd name="T60" fmla="*/ 119 w 135"/>
                <a:gd name="T61" fmla="*/ 52 h 118"/>
                <a:gd name="T62" fmla="*/ 135 w 135"/>
                <a:gd name="T63" fmla="*/ 62 h 118"/>
                <a:gd name="T64" fmla="*/ 133 w 135"/>
                <a:gd name="T65" fmla="*/ 7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5" h="118">
                  <a:moveTo>
                    <a:pt x="133" y="77"/>
                  </a:moveTo>
                  <a:lnTo>
                    <a:pt x="116" y="77"/>
                  </a:lnTo>
                  <a:lnTo>
                    <a:pt x="116" y="89"/>
                  </a:lnTo>
                  <a:lnTo>
                    <a:pt x="100" y="89"/>
                  </a:lnTo>
                  <a:lnTo>
                    <a:pt x="89" y="79"/>
                  </a:lnTo>
                  <a:lnTo>
                    <a:pt x="81" y="87"/>
                  </a:lnTo>
                  <a:lnTo>
                    <a:pt x="77" y="102"/>
                  </a:lnTo>
                  <a:lnTo>
                    <a:pt x="66" y="112"/>
                  </a:lnTo>
                  <a:lnTo>
                    <a:pt x="50" y="114"/>
                  </a:lnTo>
                  <a:lnTo>
                    <a:pt x="37" y="118"/>
                  </a:lnTo>
                  <a:lnTo>
                    <a:pt x="41" y="116"/>
                  </a:lnTo>
                  <a:lnTo>
                    <a:pt x="48" y="75"/>
                  </a:lnTo>
                  <a:lnTo>
                    <a:pt x="21" y="46"/>
                  </a:lnTo>
                  <a:lnTo>
                    <a:pt x="4" y="41"/>
                  </a:lnTo>
                  <a:lnTo>
                    <a:pt x="4" y="31"/>
                  </a:lnTo>
                  <a:lnTo>
                    <a:pt x="8" y="16"/>
                  </a:lnTo>
                  <a:lnTo>
                    <a:pt x="0" y="8"/>
                  </a:lnTo>
                  <a:lnTo>
                    <a:pt x="10" y="0"/>
                  </a:lnTo>
                  <a:lnTo>
                    <a:pt x="31" y="0"/>
                  </a:lnTo>
                  <a:lnTo>
                    <a:pt x="35" y="6"/>
                  </a:lnTo>
                  <a:lnTo>
                    <a:pt x="50" y="8"/>
                  </a:lnTo>
                  <a:lnTo>
                    <a:pt x="50" y="4"/>
                  </a:lnTo>
                  <a:lnTo>
                    <a:pt x="58" y="18"/>
                  </a:lnTo>
                  <a:lnTo>
                    <a:pt x="69" y="18"/>
                  </a:lnTo>
                  <a:lnTo>
                    <a:pt x="77" y="23"/>
                  </a:lnTo>
                  <a:lnTo>
                    <a:pt x="85" y="14"/>
                  </a:lnTo>
                  <a:lnTo>
                    <a:pt x="91" y="14"/>
                  </a:lnTo>
                  <a:lnTo>
                    <a:pt x="94" y="25"/>
                  </a:lnTo>
                  <a:lnTo>
                    <a:pt x="108" y="37"/>
                  </a:lnTo>
                  <a:lnTo>
                    <a:pt x="123" y="37"/>
                  </a:lnTo>
                  <a:lnTo>
                    <a:pt x="119" y="52"/>
                  </a:lnTo>
                  <a:lnTo>
                    <a:pt x="135" y="62"/>
                  </a:lnTo>
                  <a:lnTo>
                    <a:pt x="133" y="7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7" name="Freeform 34"/>
            <p:cNvSpPr>
              <a:spLocks/>
            </p:cNvSpPr>
            <p:nvPr/>
          </p:nvSpPr>
          <p:spPr bwMode="auto">
            <a:xfrm>
              <a:off x="1262" y="3264"/>
              <a:ext cx="109" cy="139"/>
            </a:xfrm>
            <a:custGeom>
              <a:avLst/>
              <a:gdLst>
                <a:gd name="T0" fmla="*/ 102 w 109"/>
                <a:gd name="T1" fmla="*/ 120 h 139"/>
                <a:gd name="T2" fmla="*/ 98 w 109"/>
                <a:gd name="T3" fmla="*/ 122 h 139"/>
                <a:gd name="T4" fmla="*/ 84 w 109"/>
                <a:gd name="T5" fmla="*/ 125 h 139"/>
                <a:gd name="T6" fmla="*/ 75 w 109"/>
                <a:gd name="T7" fmla="*/ 133 h 139"/>
                <a:gd name="T8" fmla="*/ 67 w 109"/>
                <a:gd name="T9" fmla="*/ 133 h 139"/>
                <a:gd name="T10" fmla="*/ 59 w 109"/>
                <a:gd name="T11" fmla="*/ 139 h 139"/>
                <a:gd name="T12" fmla="*/ 50 w 109"/>
                <a:gd name="T13" fmla="*/ 135 h 139"/>
                <a:gd name="T14" fmla="*/ 38 w 109"/>
                <a:gd name="T15" fmla="*/ 125 h 139"/>
                <a:gd name="T16" fmla="*/ 36 w 109"/>
                <a:gd name="T17" fmla="*/ 116 h 139"/>
                <a:gd name="T18" fmla="*/ 27 w 109"/>
                <a:gd name="T19" fmla="*/ 110 h 139"/>
                <a:gd name="T20" fmla="*/ 21 w 109"/>
                <a:gd name="T21" fmla="*/ 100 h 139"/>
                <a:gd name="T22" fmla="*/ 19 w 109"/>
                <a:gd name="T23" fmla="*/ 100 h 139"/>
                <a:gd name="T24" fmla="*/ 21 w 109"/>
                <a:gd name="T25" fmla="*/ 87 h 139"/>
                <a:gd name="T26" fmla="*/ 27 w 109"/>
                <a:gd name="T27" fmla="*/ 75 h 139"/>
                <a:gd name="T28" fmla="*/ 27 w 109"/>
                <a:gd name="T29" fmla="*/ 64 h 139"/>
                <a:gd name="T30" fmla="*/ 13 w 109"/>
                <a:gd name="T31" fmla="*/ 58 h 139"/>
                <a:gd name="T32" fmla="*/ 13 w 109"/>
                <a:gd name="T33" fmla="*/ 41 h 139"/>
                <a:gd name="T34" fmla="*/ 4 w 109"/>
                <a:gd name="T35" fmla="*/ 43 h 139"/>
                <a:gd name="T36" fmla="*/ 0 w 109"/>
                <a:gd name="T37" fmla="*/ 33 h 139"/>
                <a:gd name="T38" fmla="*/ 9 w 109"/>
                <a:gd name="T39" fmla="*/ 27 h 139"/>
                <a:gd name="T40" fmla="*/ 11 w 109"/>
                <a:gd name="T41" fmla="*/ 18 h 139"/>
                <a:gd name="T42" fmla="*/ 15 w 109"/>
                <a:gd name="T43" fmla="*/ 10 h 139"/>
                <a:gd name="T44" fmla="*/ 21 w 109"/>
                <a:gd name="T45" fmla="*/ 0 h 139"/>
                <a:gd name="T46" fmla="*/ 44 w 109"/>
                <a:gd name="T47" fmla="*/ 16 h 139"/>
                <a:gd name="T48" fmla="*/ 61 w 109"/>
                <a:gd name="T49" fmla="*/ 12 h 139"/>
                <a:gd name="T50" fmla="*/ 69 w 109"/>
                <a:gd name="T51" fmla="*/ 20 h 139"/>
                <a:gd name="T52" fmla="*/ 65 w 109"/>
                <a:gd name="T53" fmla="*/ 35 h 139"/>
                <a:gd name="T54" fmla="*/ 65 w 109"/>
                <a:gd name="T55" fmla="*/ 45 h 139"/>
                <a:gd name="T56" fmla="*/ 82 w 109"/>
                <a:gd name="T57" fmla="*/ 50 h 139"/>
                <a:gd name="T58" fmla="*/ 109 w 109"/>
                <a:gd name="T59" fmla="*/ 79 h 139"/>
                <a:gd name="T60" fmla="*/ 102 w 109"/>
                <a:gd name="T61" fmla="*/ 12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" h="139">
                  <a:moveTo>
                    <a:pt x="102" y="120"/>
                  </a:moveTo>
                  <a:lnTo>
                    <a:pt x="98" y="122"/>
                  </a:lnTo>
                  <a:lnTo>
                    <a:pt x="84" y="125"/>
                  </a:lnTo>
                  <a:lnTo>
                    <a:pt x="75" y="133"/>
                  </a:lnTo>
                  <a:lnTo>
                    <a:pt x="67" y="133"/>
                  </a:lnTo>
                  <a:lnTo>
                    <a:pt x="59" y="139"/>
                  </a:lnTo>
                  <a:lnTo>
                    <a:pt x="50" y="135"/>
                  </a:lnTo>
                  <a:lnTo>
                    <a:pt x="38" y="125"/>
                  </a:lnTo>
                  <a:lnTo>
                    <a:pt x="36" y="116"/>
                  </a:lnTo>
                  <a:lnTo>
                    <a:pt x="27" y="110"/>
                  </a:lnTo>
                  <a:lnTo>
                    <a:pt x="21" y="100"/>
                  </a:lnTo>
                  <a:lnTo>
                    <a:pt x="19" y="100"/>
                  </a:lnTo>
                  <a:lnTo>
                    <a:pt x="21" y="87"/>
                  </a:lnTo>
                  <a:lnTo>
                    <a:pt x="27" y="75"/>
                  </a:lnTo>
                  <a:lnTo>
                    <a:pt x="27" y="64"/>
                  </a:lnTo>
                  <a:lnTo>
                    <a:pt x="13" y="58"/>
                  </a:lnTo>
                  <a:lnTo>
                    <a:pt x="13" y="41"/>
                  </a:lnTo>
                  <a:lnTo>
                    <a:pt x="4" y="43"/>
                  </a:lnTo>
                  <a:lnTo>
                    <a:pt x="0" y="33"/>
                  </a:lnTo>
                  <a:lnTo>
                    <a:pt x="9" y="27"/>
                  </a:lnTo>
                  <a:lnTo>
                    <a:pt x="11" y="18"/>
                  </a:lnTo>
                  <a:lnTo>
                    <a:pt x="15" y="10"/>
                  </a:lnTo>
                  <a:lnTo>
                    <a:pt x="21" y="0"/>
                  </a:lnTo>
                  <a:lnTo>
                    <a:pt x="44" y="16"/>
                  </a:lnTo>
                  <a:lnTo>
                    <a:pt x="61" y="12"/>
                  </a:lnTo>
                  <a:lnTo>
                    <a:pt x="69" y="20"/>
                  </a:lnTo>
                  <a:lnTo>
                    <a:pt x="65" y="35"/>
                  </a:lnTo>
                  <a:lnTo>
                    <a:pt x="65" y="45"/>
                  </a:lnTo>
                  <a:lnTo>
                    <a:pt x="82" y="50"/>
                  </a:lnTo>
                  <a:lnTo>
                    <a:pt x="109" y="79"/>
                  </a:lnTo>
                  <a:lnTo>
                    <a:pt x="102" y="12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8" name="Freeform 35"/>
            <p:cNvSpPr>
              <a:spLocks/>
            </p:cNvSpPr>
            <p:nvPr/>
          </p:nvSpPr>
          <p:spPr bwMode="auto">
            <a:xfrm>
              <a:off x="1283" y="3159"/>
              <a:ext cx="146" cy="121"/>
            </a:xfrm>
            <a:custGeom>
              <a:avLst/>
              <a:gdLst>
                <a:gd name="T0" fmla="*/ 63 w 146"/>
                <a:gd name="T1" fmla="*/ 0 h 121"/>
                <a:gd name="T2" fmla="*/ 88 w 146"/>
                <a:gd name="T3" fmla="*/ 0 h 121"/>
                <a:gd name="T4" fmla="*/ 111 w 146"/>
                <a:gd name="T5" fmla="*/ 21 h 121"/>
                <a:gd name="T6" fmla="*/ 119 w 146"/>
                <a:gd name="T7" fmla="*/ 15 h 121"/>
                <a:gd name="T8" fmla="*/ 127 w 146"/>
                <a:gd name="T9" fmla="*/ 25 h 121"/>
                <a:gd name="T10" fmla="*/ 127 w 146"/>
                <a:gd name="T11" fmla="*/ 52 h 121"/>
                <a:gd name="T12" fmla="*/ 146 w 146"/>
                <a:gd name="T13" fmla="*/ 71 h 121"/>
                <a:gd name="T14" fmla="*/ 144 w 146"/>
                <a:gd name="T15" fmla="*/ 84 h 121"/>
                <a:gd name="T16" fmla="*/ 129 w 146"/>
                <a:gd name="T17" fmla="*/ 84 h 121"/>
                <a:gd name="T18" fmla="*/ 125 w 146"/>
                <a:gd name="T19" fmla="*/ 94 h 121"/>
                <a:gd name="T20" fmla="*/ 117 w 146"/>
                <a:gd name="T21" fmla="*/ 92 h 121"/>
                <a:gd name="T22" fmla="*/ 102 w 146"/>
                <a:gd name="T23" fmla="*/ 109 h 121"/>
                <a:gd name="T24" fmla="*/ 92 w 146"/>
                <a:gd name="T25" fmla="*/ 109 h 121"/>
                <a:gd name="T26" fmla="*/ 90 w 146"/>
                <a:gd name="T27" fmla="*/ 117 h 121"/>
                <a:gd name="T28" fmla="*/ 75 w 146"/>
                <a:gd name="T29" fmla="*/ 115 h 121"/>
                <a:gd name="T30" fmla="*/ 71 w 146"/>
                <a:gd name="T31" fmla="*/ 109 h 121"/>
                <a:gd name="T32" fmla="*/ 50 w 146"/>
                <a:gd name="T33" fmla="*/ 109 h 121"/>
                <a:gd name="T34" fmla="*/ 40 w 146"/>
                <a:gd name="T35" fmla="*/ 117 h 121"/>
                <a:gd name="T36" fmla="*/ 23 w 146"/>
                <a:gd name="T37" fmla="*/ 121 h 121"/>
                <a:gd name="T38" fmla="*/ 0 w 146"/>
                <a:gd name="T39" fmla="*/ 105 h 121"/>
                <a:gd name="T40" fmla="*/ 2 w 146"/>
                <a:gd name="T41" fmla="*/ 100 h 121"/>
                <a:gd name="T42" fmla="*/ 6 w 146"/>
                <a:gd name="T43" fmla="*/ 86 h 121"/>
                <a:gd name="T44" fmla="*/ 29 w 146"/>
                <a:gd name="T45" fmla="*/ 71 h 121"/>
                <a:gd name="T46" fmla="*/ 23 w 146"/>
                <a:gd name="T47" fmla="*/ 55 h 121"/>
                <a:gd name="T48" fmla="*/ 31 w 146"/>
                <a:gd name="T49" fmla="*/ 48 h 121"/>
                <a:gd name="T50" fmla="*/ 29 w 146"/>
                <a:gd name="T51" fmla="*/ 30 h 121"/>
                <a:gd name="T52" fmla="*/ 40 w 146"/>
                <a:gd name="T53" fmla="*/ 23 h 121"/>
                <a:gd name="T54" fmla="*/ 44 w 146"/>
                <a:gd name="T55" fmla="*/ 23 h 121"/>
                <a:gd name="T56" fmla="*/ 50 w 146"/>
                <a:gd name="T57" fmla="*/ 9 h 121"/>
                <a:gd name="T58" fmla="*/ 63 w 146"/>
                <a:gd name="T5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6" h="121">
                  <a:moveTo>
                    <a:pt x="63" y="0"/>
                  </a:moveTo>
                  <a:lnTo>
                    <a:pt x="88" y="0"/>
                  </a:lnTo>
                  <a:lnTo>
                    <a:pt x="111" y="21"/>
                  </a:lnTo>
                  <a:lnTo>
                    <a:pt x="119" y="15"/>
                  </a:lnTo>
                  <a:lnTo>
                    <a:pt x="127" y="25"/>
                  </a:lnTo>
                  <a:lnTo>
                    <a:pt x="127" y="52"/>
                  </a:lnTo>
                  <a:lnTo>
                    <a:pt x="146" y="71"/>
                  </a:lnTo>
                  <a:lnTo>
                    <a:pt x="144" y="84"/>
                  </a:lnTo>
                  <a:lnTo>
                    <a:pt x="129" y="84"/>
                  </a:lnTo>
                  <a:lnTo>
                    <a:pt x="125" y="94"/>
                  </a:lnTo>
                  <a:lnTo>
                    <a:pt x="117" y="92"/>
                  </a:lnTo>
                  <a:lnTo>
                    <a:pt x="102" y="109"/>
                  </a:lnTo>
                  <a:lnTo>
                    <a:pt x="92" y="109"/>
                  </a:lnTo>
                  <a:lnTo>
                    <a:pt x="90" y="117"/>
                  </a:lnTo>
                  <a:lnTo>
                    <a:pt x="75" y="115"/>
                  </a:lnTo>
                  <a:lnTo>
                    <a:pt x="71" y="109"/>
                  </a:lnTo>
                  <a:lnTo>
                    <a:pt x="50" y="109"/>
                  </a:lnTo>
                  <a:lnTo>
                    <a:pt x="40" y="117"/>
                  </a:lnTo>
                  <a:lnTo>
                    <a:pt x="23" y="121"/>
                  </a:lnTo>
                  <a:lnTo>
                    <a:pt x="0" y="105"/>
                  </a:lnTo>
                  <a:lnTo>
                    <a:pt x="2" y="100"/>
                  </a:lnTo>
                  <a:lnTo>
                    <a:pt x="6" y="86"/>
                  </a:lnTo>
                  <a:lnTo>
                    <a:pt x="29" y="71"/>
                  </a:lnTo>
                  <a:lnTo>
                    <a:pt x="23" y="55"/>
                  </a:lnTo>
                  <a:lnTo>
                    <a:pt x="31" y="48"/>
                  </a:lnTo>
                  <a:lnTo>
                    <a:pt x="29" y="30"/>
                  </a:lnTo>
                  <a:lnTo>
                    <a:pt x="40" y="23"/>
                  </a:lnTo>
                  <a:lnTo>
                    <a:pt x="44" y="23"/>
                  </a:lnTo>
                  <a:lnTo>
                    <a:pt x="50" y="9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9" name="Freeform 36"/>
            <p:cNvSpPr>
              <a:spLocks/>
            </p:cNvSpPr>
            <p:nvPr/>
          </p:nvSpPr>
          <p:spPr bwMode="auto">
            <a:xfrm>
              <a:off x="1083" y="3072"/>
              <a:ext cx="263" cy="173"/>
            </a:xfrm>
            <a:custGeom>
              <a:avLst/>
              <a:gdLst>
                <a:gd name="T0" fmla="*/ 0 w 263"/>
                <a:gd name="T1" fmla="*/ 64 h 173"/>
                <a:gd name="T2" fmla="*/ 6 w 263"/>
                <a:gd name="T3" fmla="*/ 52 h 173"/>
                <a:gd name="T4" fmla="*/ 17 w 263"/>
                <a:gd name="T5" fmla="*/ 48 h 173"/>
                <a:gd name="T6" fmla="*/ 25 w 263"/>
                <a:gd name="T7" fmla="*/ 33 h 173"/>
                <a:gd name="T8" fmla="*/ 23 w 263"/>
                <a:gd name="T9" fmla="*/ 19 h 173"/>
                <a:gd name="T10" fmla="*/ 33 w 263"/>
                <a:gd name="T11" fmla="*/ 12 h 173"/>
                <a:gd name="T12" fmla="*/ 38 w 263"/>
                <a:gd name="T13" fmla="*/ 0 h 173"/>
                <a:gd name="T14" fmla="*/ 48 w 263"/>
                <a:gd name="T15" fmla="*/ 8 h 173"/>
                <a:gd name="T16" fmla="*/ 69 w 263"/>
                <a:gd name="T17" fmla="*/ 12 h 173"/>
                <a:gd name="T18" fmla="*/ 75 w 263"/>
                <a:gd name="T19" fmla="*/ 19 h 173"/>
                <a:gd name="T20" fmla="*/ 88 w 263"/>
                <a:gd name="T21" fmla="*/ 19 h 173"/>
                <a:gd name="T22" fmla="*/ 90 w 263"/>
                <a:gd name="T23" fmla="*/ 25 h 173"/>
                <a:gd name="T24" fmla="*/ 106 w 263"/>
                <a:gd name="T25" fmla="*/ 25 h 173"/>
                <a:gd name="T26" fmla="*/ 117 w 263"/>
                <a:gd name="T27" fmla="*/ 31 h 173"/>
                <a:gd name="T28" fmla="*/ 123 w 263"/>
                <a:gd name="T29" fmla="*/ 31 h 173"/>
                <a:gd name="T30" fmla="*/ 131 w 263"/>
                <a:gd name="T31" fmla="*/ 23 h 173"/>
                <a:gd name="T32" fmla="*/ 144 w 263"/>
                <a:gd name="T33" fmla="*/ 25 h 173"/>
                <a:gd name="T34" fmla="*/ 152 w 263"/>
                <a:gd name="T35" fmla="*/ 16 h 173"/>
                <a:gd name="T36" fmla="*/ 167 w 263"/>
                <a:gd name="T37" fmla="*/ 19 h 173"/>
                <a:gd name="T38" fmla="*/ 169 w 263"/>
                <a:gd name="T39" fmla="*/ 29 h 173"/>
                <a:gd name="T40" fmla="*/ 175 w 263"/>
                <a:gd name="T41" fmla="*/ 39 h 173"/>
                <a:gd name="T42" fmla="*/ 186 w 263"/>
                <a:gd name="T43" fmla="*/ 39 h 173"/>
                <a:gd name="T44" fmla="*/ 196 w 263"/>
                <a:gd name="T45" fmla="*/ 50 h 173"/>
                <a:gd name="T46" fmla="*/ 202 w 263"/>
                <a:gd name="T47" fmla="*/ 46 h 173"/>
                <a:gd name="T48" fmla="*/ 202 w 263"/>
                <a:gd name="T49" fmla="*/ 42 h 173"/>
                <a:gd name="T50" fmla="*/ 234 w 263"/>
                <a:gd name="T51" fmla="*/ 60 h 173"/>
                <a:gd name="T52" fmla="*/ 261 w 263"/>
                <a:gd name="T53" fmla="*/ 60 h 173"/>
                <a:gd name="T54" fmla="*/ 263 w 263"/>
                <a:gd name="T55" fmla="*/ 87 h 173"/>
                <a:gd name="T56" fmla="*/ 250 w 263"/>
                <a:gd name="T57" fmla="*/ 96 h 173"/>
                <a:gd name="T58" fmla="*/ 244 w 263"/>
                <a:gd name="T59" fmla="*/ 110 h 173"/>
                <a:gd name="T60" fmla="*/ 240 w 263"/>
                <a:gd name="T61" fmla="*/ 110 h 173"/>
                <a:gd name="T62" fmla="*/ 229 w 263"/>
                <a:gd name="T63" fmla="*/ 117 h 173"/>
                <a:gd name="T64" fmla="*/ 231 w 263"/>
                <a:gd name="T65" fmla="*/ 135 h 173"/>
                <a:gd name="T66" fmla="*/ 223 w 263"/>
                <a:gd name="T67" fmla="*/ 142 h 173"/>
                <a:gd name="T68" fmla="*/ 229 w 263"/>
                <a:gd name="T69" fmla="*/ 158 h 173"/>
                <a:gd name="T70" fmla="*/ 206 w 263"/>
                <a:gd name="T71" fmla="*/ 173 h 173"/>
                <a:gd name="T72" fmla="*/ 190 w 263"/>
                <a:gd name="T73" fmla="*/ 169 h 173"/>
                <a:gd name="T74" fmla="*/ 171 w 263"/>
                <a:gd name="T75" fmla="*/ 160 h 173"/>
                <a:gd name="T76" fmla="*/ 163 w 263"/>
                <a:gd name="T77" fmla="*/ 160 h 173"/>
                <a:gd name="T78" fmla="*/ 146 w 263"/>
                <a:gd name="T79" fmla="*/ 152 h 173"/>
                <a:gd name="T80" fmla="*/ 133 w 263"/>
                <a:gd name="T81" fmla="*/ 150 h 173"/>
                <a:gd name="T82" fmla="*/ 125 w 263"/>
                <a:gd name="T83" fmla="*/ 133 h 173"/>
                <a:gd name="T84" fmla="*/ 113 w 263"/>
                <a:gd name="T85" fmla="*/ 144 h 173"/>
                <a:gd name="T86" fmla="*/ 100 w 263"/>
                <a:gd name="T87" fmla="*/ 144 h 173"/>
                <a:gd name="T88" fmla="*/ 100 w 263"/>
                <a:gd name="T89" fmla="*/ 146 h 173"/>
                <a:gd name="T90" fmla="*/ 90 w 263"/>
                <a:gd name="T91" fmla="*/ 131 h 173"/>
                <a:gd name="T92" fmla="*/ 77 w 263"/>
                <a:gd name="T93" fmla="*/ 121 h 173"/>
                <a:gd name="T94" fmla="*/ 75 w 263"/>
                <a:gd name="T95" fmla="*/ 110 h 173"/>
                <a:gd name="T96" fmla="*/ 69 w 263"/>
                <a:gd name="T97" fmla="*/ 108 h 173"/>
                <a:gd name="T98" fmla="*/ 58 w 263"/>
                <a:gd name="T99" fmla="*/ 110 h 173"/>
                <a:gd name="T100" fmla="*/ 46 w 263"/>
                <a:gd name="T101" fmla="*/ 112 h 173"/>
                <a:gd name="T102" fmla="*/ 15 w 263"/>
                <a:gd name="T103" fmla="*/ 87 h 173"/>
                <a:gd name="T104" fmla="*/ 15 w 263"/>
                <a:gd name="T105" fmla="*/ 75 h 173"/>
                <a:gd name="T106" fmla="*/ 0 w 263"/>
                <a:gd name="T107" fmla="*/ 6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3" h="173">
                  <a:moveTo>
                    <a:pt x="0" y="64"/>
                  </a:moveTo>
                  <a:lnTo>
                    <a:pt x="6" y="52"/>
                  </a:lnTo>
                  <a:lnTo>
                    <a:pt x="17" y="48"/>
                  </a:lnTo>
                  <a:lnTo>
                    <a:pt x="25" y="33"/>
                  </a:lnTo>
                  <a:lnTo>
                    <a:pt x="23" y="19"/>
                  </a:lnTo>
                  <a:lnTo>
                    <a:pt x="33" y="12"/>
                  </a:lnTo>
                  <a:lnTo>
                    <a:pt x="38" y="0"/>
                  </a:lnTo>
                  <a:lnTo>
                    <a:pt x="48" y="8"/>
                  </a:lnTo>
                  <a:lnTo>
                    <a:pt x="69" y="12"/>
                  </a:lnTo>
                  <a:lnTo>
                    <a:pt x="75" y="19"/>
                  </a:lnTo>
                  <a:lnTo>
                    <a:pt x="88" y="19"/>
                  </a:lnTo>
                  <a:lnTo>
                    <a:pt x="90" y="25"/>
                  </a:lnTo>
                  <a:lnTo>
                    <a:pt x="106" y="25"/>
                  </a:lnTo>
                  <a:lnTo>
                    <a:pt x="117" y="31"/>
                  </a:lnTo>
                  <a:lnTo>
                    <a:pt x="123" y="31"/>
                  </a:lnTo>
                  <a:lnTo>
                    <a:pt x="131" y="23"/>
                  </a:lnTo>
                  <a:lnTo>
                    <a:pt x="144" y="25"/>
                  </a:lnTo>
                  <a:lnTo>
                    <a:pt x="152" y="16"/>
                  </a:lnTo>
                  <a:lnTo>
                    <a:pt x="167" y="19"/>
                  </a:lnTo>
                  <a:lnTo>
                    <a:pt x="169" y="29"/>
                  </a:lnTo>
                  <a:lnTo>
                    <a:pt x="175" y="39"/>
                  </a:lnTo>
                  <a:lnTo>
                    <a:pt x="186" y="39"/>
                  </a:lnTo>
                  <a:lnTo>
                    <a:pt x="196" y="50"/>
                  </a:lnTo>
                  <a:lnTo>
                    <a:pt x="202" y="46"/>
                  </a:lnTo>
                  <a:lnTo>
                    <a:pt x="202" y="42"/>
                  </a:lnTo>
                  <a:lnTo>
                    <a:pt x="234" y="60"/>
                  </a:lnTo>
                  <a:lnTo>
                    <a:pt x="261" y="60"/>
                  </a:lnTo>
                  <a:lnTo>
                    <a:pt x="263" y="87"/>
                  </a:lnTo>
                  <a:lnTo>
                    <a:pt x="250" y="96"/>
                  </a:lnTo>
                  <a:lnTo>
                    <a:pt x="244" y="110"/>
                  </a:lnTo>
                  <a:lnTo>
                    <a:pt x="240" y="110"/>
                  </a:lnTo>
                  <a:lnTo>
                    <a:pt x="229" y="117"/>
                  </a:lnTo>
                  <a:lnTo>
                    <a:pt x="231" y="135"/>
                  </a:lnTo>
                  <a:lnTo>
                    <a:pt x="223" y="142"/>
                  </a:lnTo>
                  <a:lnTo>
                    <a:pt x="229" y="158"/>
                  </a:lnTo>
                  <a:lnTo>
                    <a:pt x="206" y="173"/>
                  </a:lnTo>
                  <a:lnTo>
                    <a:pt x="190" y="169"/>
                  </a:lnTo>
                  <a:lnTo>
                    <a:pt x="171" y="160"/>
                  </a:lnTo>
                  <a:lnTo>
                    <a:pt x="163" y="160"/>
                  </a:lnTo>
                  <a:lnTo>
                    <a:pt x="146" y="152"/>
                  </a:lnTo>
                  <a:lnTo>
                    <a:pt x="133" y="150"/>
                  </a:lnTo>
                  <a:lnTo>
                    <a:pt x="125" y="133"/>
                  </a:lnTo>
                  <a:lnTo>
                    <a:pt x="113" y="144"/>
                  </a:lnTo>
                  <a:lnTo>
                    <a:pt x="100" y="144"/>
                  </a:lnTo>
                  <a:lnTo>
                    <a:pt x="100" y="146"/>
                  </a:lnTo>
                  <a:lnTo>
                    <a:pt x="90" y="131"/>
                  </a:lnTo>
                  <a:lnTo>
                    <a:pt x="77" y="121"/>
                  </a:lnTo>
                  <a:lnTo>
                    <a:pt x="75" y="110"/>
                  </a:lnTo>
                  <a:lnTo>
                    <a:pt x="69" y="108"/>
                  </a:lnTo>
                  <a:lnTo>
                    <a:pt x="58" y="110"/>
                  </a:lnTo>
                  <a:lnTo>
                    <a:pt x="46" y="112"/>
                  </a:lnTo>
                  <a:lnTo>
                    <a:pt x="15" y="87"/>
                  </a:lnTo>
                  <a:lnTo>
                    <a:pt x="15" y="75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0" name="Freeform 37"/>
            <p:cNvSpPr>
              <a:spLocks/>
            </p:cNvSpPr>
            <p:nvPr/>
          </p:nvSpPr>
          <p:spPr bwMode="auto">
            <a:xfrm>
              <a:off x="1006" y="3124"/>
              <a:ext cx="177" cy="156"/>
            </a:xfrm>
            <a:custGeom>
              <a:avLst/>
              <a:gdLst>
                <a:gd name="T0" fmla="*/ 3 w 85"/>
                <a:gd name="T1" fmla="*/ 66 h 75"/>
                <a:gd name="T2" fmla="*/ 5 w 85"/>
                <a:gd name="T3" fmla="*/ 61 h 75"/>
                <a:gd name="T4" fmla="*/ 6 w 85"/>
                <a:gd name="T5" fmla="*/ 54 h 75"/>
                <a:gd name="T6" fmla="*/ 1 w 85"/>
                <a:gd name="T7" fmla="*/ 47 h 75"/>
                <a:gd name="T8" fmla="*/ 5 w 85"/>
                <a:gd name="T9" fmla="*/ 41 h 75"/>
                <a:gd name="T10" fmla="*/ 4 w 85"/>
                <a:gd name="T11" fmla="*/ 34 h 75"/>
                <a:gd name="T12" fmla="*/ 10 w 85"/>
                <a:gd name="T13" fmla="*/ 25 h 75"/>
                <a:gd name="T14" fmla="*/ 10 w 85"/>
                <a:gd name="T15" fmla="*/ 16 h 75"/>
                <a:gd name="T16" fmla="*/ 20 w 85"/>
                <a:gd name="T17" fmla="*/ 12 h 75"/>
                <a:gd name="T18" fmla="*/ 26 w 85"/>
                <a:gd name="T19" fmla="*/ 4 h 75"/>
                <a:gd name="T20" fmla="*/ 29 w 85"/>
                <a:gd name="T21" fmla="*/ 0 h 75"/>
                <a:gd name="T22" fmla="*/ 34 w 85"/>
                <a:gd name="T23" fmla="*/ 0 h 75"/>
                <a:gd name="T24" fmla="*/ 37 w 85"/>
                <a:gd name="T25" fmla="*/ 6 h 75"/>
                <a:gd name="T26" fmla="*/ 44 w 85"/>
                <a:gd name="T27" fmla="*/ 11 h 75"/>
                <a:gd name="T28" fmla="*/ 44 w 85"/>
                <a:gd name="T29" fmla="*/ 17 h 75"/>
                <a:gd name="T30" fmla="*/ 59 w 85"/>
                <a:gd name="T31" fmla="*/ 29 h 75"/>
                <a:gd name="T32" fmla="*/ 65 w 85"/>
                <a:gd name="T33" fmla="*/ 28 h 75"/>
                <a:gd name="T34" fmla="*/ 70 w 85"/>
                <a:gd name="T35" fmla="*/ 27 h 75"/>
                <a:gd name="T36" fmla="*/ 73 w 85"/>
                <a:gd name="T37" fmla="*/ 28 h 75"/>
                <a:gd name="T38" fmla="*/ 74 w 85"/>
                <a:gd name="T39" fmla="*/ 33 h 75"/>
                <a:gd name="T40" fmla="*/ 80 w 85"/>
                <a:gd name="T41" fmla="*/ 38 h 75"/>
                <a:gd name="T42" fmla="*/ 85 w 85"/>
                <a:gd name="T43" fmla="*/ 45 h 75"/>
                <a:gd name="T44" fmla="*/ 84 w 85"/>
                <a:gd name="T45" fmla="*/ 53 h 75"/>
                <a:gd name="T46" fmla="*/ 77 w 85"/>
                <a:gd name="T47" fmla="*/ 55 h 75"/>
                <a:gd name="T48" fmla="*/ 70 w 85"/>
                <a:gd name="T49" fmla="*/ 65 h 75"/>
                <a:gd name="T50" fmla="*/ 62 w 85"/>
                <a:gd name="T51" fmla="*/ 64 h 75"/>
                <a:gd name="T52" fmla="*/ 54 w 85"/>
                <a:gd name="T53" fmla="*/ 69 h 75"/>
                <a:gd name="T54" fmla="*/ 47 w 85"/>
                <a:gd name="T55" fmla="*/ 63 h 75"/>
                <a:gd name="T56" fmla="*/ 42 w 85"/>
                <a:gd name="T57" fmla="*/ 65 h 75"/>
                <a:gd name="T58" fmla="*/ 38 w 85"/>
                <a:gd name="T59" fmla="*/ 57 h 75"/>
                <a:gd name="T60" fmla="*/ 32 w 85"/>
                <a:gd name="T61" fmla="*/ 57 h 75"/>
                <a:gd name="T62" fmla="*/ 29 w 85"/>
                <a:gd name="T63" fmla="*/ 61 h 75"/>
                <a:gd name="T64" fmla="*/ 25 w 85"/>
                <a:gd name="T65" fmla="*/ 62 h 75"/>
                <a:gd name="T66" fmla="*/ 23 w 85"/>
                <a:gd name="T67" fmla="*/ 64 h 75"/>
                <a:gd name="T68" fmla="*/ 23 w 85"/>
                <a:gd name="T69" fmla="*/ 63 h 75"/>
                <a:gd name="T70" fmla="*/ 13 w 85"/>
                <a:gd name="T71" fmla="*/ 67 h 75"/>
                <a:gd name="T72" fmla="*/ 7 w 85"/>
                <a:gd name="T73" fmla="*/ 75 h 75"/>
                <a:gd name="T74" fmla="*/ 5 w 85"/>
                <a:gd name="T75" fmla="*/ 68 h 75"/>
                <a:gd name="T76" fmla="*/ 3 w 85"/>
                <a:gd name="T77" fmla="*/ 6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5" h="75">
                  <a:moveTo>
                    <a:pt x="3" y="66"/>
                  </a:moveTo>
                  <a:cubicBezTo>
                    <a:pt x="4" y="65"/>
                    <a:pt x="4" y="64"/>
                    <a:pt x="5" y="61"/>
                  </a:cubicBezTo>
                  <a:cubicBezTo>
                    <a:pt x="5" y="56"/>
                    <a:pt x="6" y="57"/>
                    <a:pt x="6" y="54"/>
                  </a:cubicBezTo>
                  <a:cubicBezTo>
                    <a:pt x="6" y="51"/>
                    <a:pt x="2" y="50"/>
                    <a:pt x="1" y="47"/>
                  </a:cubicBezTo>
                  <a:cubicBezTo>
                    <a:pt x="0" y="43"/>
                    <a:pt x="5" y="43"/>
                    <a:pt x="5" y="41"/>
                  </a:cubicBezTo>
                  <a:cubicBezTo>
                    <a:pt x="6" y="39"/>
                    <a:pt x="4" y="36"/>
                    <a:pt x="4" y="34"/>
                  </a:cubicBezTo>
                  <a:cubicBezTo>
                    <a:pt x="3" y="31"/>
                    <a:pt x="8" y="27"/>
                    <a:pt x="10" y="25"/>
                  </a:cubicBezTo>
                  <a:cubicBezTo>
                    <a:pt x="11" y="23"/>
                    <a:pt x="10" y="18"/>
                    <a:pt x="10" y="16"/>
                  </a:cubicBezTo>
                  <a:cubicBezTo>
                    <a:pt x="11" y="13"/>
                    <a:pt x="17" y="13"/>
                    <a:pt x="20" y="12"/>
                  </a:cubicBezTo>
                  <a:cubicBezTo>
                    <a:pt x="24" y="11"/>
                    <a:pt x="21" y="6"/>
                    <a:pt x="26" y="4"/>
                  </a:cubicBezTo>
                  <a:cubicBezTo>
                    <a:pt x="28" y="3"/>
                    <a:pt x="29" y="2"/>
                    <a:pt x="2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4" y="33"/>
                    <a:pt x="74" y="33"/>
                    <a:pt x="74" y="33"/>
                  </a:cubicBezTo>
                  <a:cubicBezTo>
                    <a:pt x="80" y="38"/>
                    <a:pt x="80" y="38"/>
                    <a:pt x="80" y="38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5" y="68"/>
                    <a:pt x="5" y="68"/>
                    <a:pt x="5" y="68"/>
                  </a:cubicBezTo>
                  <a:lnTo>
                    <a:pt x="3" y="66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1" name="Freeform 38"/>
            <p:cNvSpPr>
              <a:spLocks/>
            </p:cNvSpPr>
            <p:nvPr/>
          </p:nvSpPr>
          <p:spPr bwMode="auto">
            <a:xfrm>
              <a:off x="931" y="3236"/>
              <a:ext cx="135" cy="132"/>
            </a:xfrm>
            <a:custGeom>
              <a:avLst/>
              <a:gdLst>
                <a:gd name="T0" fmla="*/ 28 w 65"/>
                <a:gd name="T1" fmla="*/ 59 h 63"/>
                <a:gd name="T2" fmla="*/ 29 w 65"/>
                <a:gd name="T3" fmla="*/ 47 h 63"/>
                <a:gd name="T4" fmla="*/ 23 w 65"/>
                <a:gd name="T5" fmla="*/ 40 h 63"/>
                <a:gd name="T6" fmla="*/ 14 w 65"/>
                <a:gd name="T7" fmla="*/ 37 h 63"/>
                <a:gd name="T8" fmla="*/ 11 w 65"/>
                <a:gd name="T9" fmla="*/ 31 h 63"/>
                <a:gd name="T10" fmla="*/ 5 w 65"/>
                <a:gd name="T11" fmla="*/ 31 h 63"/>
                <a:gd name="T12" fmla="*/ 1 w 65"/>
                <a:gd name="T13" fmla="*/ 27 h 63"/>
                <a:gd name="T14" fmla="*/ 5 w 65"/>
                <a:gd name="T15" fmla="*/ 18 h 63"/>
                <a:gd name="T16" fmla="*/ 12 w 65"/>
                <a:gd name="T17" fmla="*/ 7 h 63"/>
                <a:gd name="T18" fmla="*/ 18 w 65"/>
                <a:gd name="T19" fmla="*/ 1 h 63"/>
                <a:gd name="T20" fmla="*/ 23 w 65"/>
                <a:gd name="T21" fmla="*/ 8 h 63"/>
                <a:gd name="T22" fmla="*/ 34 w 65"/>
                <a:gd name="T23" fmla="*/ 13 h 63"/>
                <a:gd name="T24" fmla="*/ 39 w 65"/>
                <a:gd name="T25" fmla="*/ 12 h 63"/>
                <a:gd name="T26" fmla="*/ 41 w 65"/>
                <a:gd name="T27" fmla="*/ 14 h 63"/>
                <a:gd name="T28" fmla="*/ 43 w 65"/>
                <a:gd name="T29" fmla="*/ 21 h 63"/>
                <a:gd name="T30" fmla="*/ 49 w 65"/>
                <a:gd name="T31" fmla="*/ 13 h 63"/>
                <a:gd name="T32" fmla="*/ 59 w 65"/>
                <a:gd name="T33" fmla="*/ 9 h 63"/>
                <a:gd name="T34" fmla="*/ 61 w 65"/>
                <a:gd name="T35" fmla="*/ 10 h 63"/>
                <a:gd name="T36" fmla="*/ 62 w 65"/>
                <a:gd name="T37" fmla="*/ 18 h 63"/>
                <a:gd name="T38" fmla="*/ 63 w 65"/>
                <a:gd name="T39" fmla="*/ 23 h 63"/>
                <a:gd name="T40" fmla="*/ 63 w 65"/>
                <a:gd name="T41" fmla="*/ 29 h 63"/>
                <a:gd name="T42" fmla="*/ 59 w 65"/>
                <a:gd name="T43" fmla="*/ 32 h 63"/>
                <a:gd name="T44" fmla="*/ 60 w 65"/>
                <a:gd name="T45" fmla="*/ 36 h 63"/>
                <a:gd name="T46" fmla="*/ 65 w 65"/>
                <a:gd name="T47" fmla="*/ 41 h 63"/>
                <a:gd name="T48" fmla="*/ 65 w 65"/>
                <a:gd name="T49" fmla="*/ 45 h 63"/>
                <a:gd name="T50" fmla="*/ 62 w 65"/>
                <a:gd name="T51" fmla="*/ 46 h 63"/>
                <a:gd name="T52" fmla="*/ 62 w 65"/>
                <a:gd name="T53" fmla="*/ 51 h 63"/>
                <a:gd name="T54" fmla="*/ 59 w 65"/>
                <a:gd name="T55" fmla="*/ 53 h 63"/>
                <a:gd name="T56" fmla="*/ 56 w 65"/>
                <a:gd name="T57" fmla="*/ 49 h 63"/>
                <a:gd name="T58" fmla="*/ 50 w 65"/>
                <a:gd name="T59" fmla="*/ 51 h 63"/>
                <a:gd name="T60" fmla="*/ 50 w 65"/>
                <a:gd name="T61" fmla="*/ 57 h 63"/>
                <a:gd name="T62" fmla="*/ 44 w 65"/>
                <a:gd name="T63" fmla="*/ 59 h 63"/>
                <a:gd name="T64" fmla="*/ 43 w 65"/>
                <a:gd name="T65" fmla="*/ 63 h 63"/>
                <a:gd name="T66" fmla="*/ 38 w 65"/>
                <a:gd name="T67" fmla="*/ 61 h 63"/>
                <a:gd name="T68" fmla="*/ 32 w 65"/>
                <a:gd name="T69" fmla="*/ 60 h 63"/>
                <a:gd name="T70" fmla="*/ 27 w 65"/>
                <a:gd name="T71" fmla="*/ 60 h 63"/>
                <a:gd name="T72" fmla="*/ 28 w 65"/>
                <a:gd name="T73" fmla="*/ 5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5" h="63">
                  <a:moveTo>
                    <a:pt x="28" y="59"/>
                  </a:moveTo>
                  <a:cubicBezTo>
                    <a:pt x="30" y="56"/>
                    <a:pt x="30" y="51"/>
                    <a:pt x="29" y="47"/>
                  </a:cubicBezTo>
                  <a:cubicBezTo>
                    <a:pt x="29" y="43"/>
                    <a:pt x="25" y="43"/>
                    <a:pt x="23" y="40"/>
                  </a:cubicBezTo>
                  <a:cubicBezTo>
                    <a:pt x="21" y="37"/>
                    <a:pt x="15" y="40"/>
                    <a:pt x="14" y="37"/>
                  </a:cubicBezTo>
                  <a:cubicBezTo>
                    <a:pt x="14" y="34"/>
                    <a:pt x="12" y="31"/>
                    <a:pt x="11" y="31"/>
                  </a:cubicBezTo>
                  <a:cubicBezTo>
                    <a:pt x="10" y="31"/>
                    <a:pt x="8" y="31"/>
                    <a:pt x="5" y="31"/>
                  </a:cubicBezTo>
                  <a:cubicBezTo>
                    <a:pt x="2" y="32"/>
                    <a:pt x="0" y="31"/>
                    <a:pt x="1" y="27"/>
                  </a:cubicBezTo>
                  <a:cubicBezTo>
                    <a:pt x="1" y="23"/>
                    <a:pt x="4" y="21"/>
                    <a:pt x="5" y="18"/>
                  </a:cubicBezTo>
                  <a:cubicBezTo>
                    <a:pt x="5" y="15"/>
                    <a:pt x="12" y="14"/>
                    <a:pt x="12" y="7"/>
                  </a:cubicBezTo>
                  <a:cubicBezTo>
                    <a:pt x="12" y="0"/>
                    <a:pt x="15" y="1"/>
                    <a:pt x="18" y="1"/>
                  </a:cubicBezTo>
                  <a:cubicBezTo>
                    <a:pt x="21" y="1"/>
                    <a:pt x="23" y="2"/>
                    <a:pt x="23" y="8"/>
                  </a:cubicBezTo>
                  <a:cubicBezTo>
                    <a:pt x="23" y="14"/>
                    <a:pt x="29" y="13"/>
                    <a:pt x="34" y="13"/>
                  </a:cubicBezTo>
                  <a:cubicBezTo>
                    <a:pt x="36" y="13"/>
                    <a:pt x="38" y="13"/>
                    <a:pt x="39" y="12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27" y="60"/>
                    <a:pt x="27" y="60"/>
                    <a:pt x="27" y="60"/>
                  </a:cubicBezTo>
                  <a:lnTo>
                    <a:pt x="28" y="59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2" name="Freeform 39"/>
            <p:cNvSpPr>
              <a:spLocks/>
            </p:cNvSpPr>
            <p:nvPr/>
          </p:nvSpPr>
          <p:spPr bwMode="auto">
            <a:xfrm>
              <a:off x="958" y="3361"/>
              <a:ext cx="138" cy="138"/>
            </a:xfrm>
            <a:custGeom>
              <a:avLst/>
              <a:gdLst>
                <a:gd name="T0" fmla="*/ 4 w 66"/>
                <a:gd name="T1" fmla="*/ 42 h 66"/>
                <a:gd name="T2" fmla="*/ 6 w 66"/>
                <a:gd name="T3" fmla="*/ 40 h 66"/>
                <a:gd name="T4" fmla="*/ 8 w 66"/>
                <a:gd name="T5" fmla="*/ 28 h 66"/>
                <a:gd name="T6" fmla="*/ 2 w 66"/>
                <a:gd name="T7" fmla="*/ 20 h 66"/>
                <a:gd name="T8" fmla="*/ 5 w 66"/>
                <a:gd name="T9" fmla="*/ 8 h 66"/>
                <a:gd name="T10" fmla="*/ 11 w 66"/>
                <a:gd name="T11" fmla="*/ 7 h 66"/>
                <a:gd name="T12" fmla="*/ 14 w 66"/>
                <a:gd name="T13" fmla="*/ 0 h 66"/>
                <a:gd name="T14" fmla="*/ 19 w 66"/>
                <a:gd name="T15" fmla="*/ 0 h 66"/>
                <a:gd name="T16" fmla="*/ 25 w 66"/>
                <a:gd name="T17" fmla="*/ 1 h 66"/>
                <a:gd name="T18" fmla="*/ 30 w 66"/>
                <a:gd name="T19" fmla="*/ 3 h 66"/>
                <a:gd name="T20" fmla="*/ 37 w 66"/>
                <a:gd name="T21" fmla="*/ 7 h 66"/>
                <a:gd name="T22" fmla="*/ 39 w 66"/>
                <a:gd name="T23" fmla="*/ 15 h 66"/>
                <a:gd name="T24" fmla="*/ 43 w 66"/>
                <a:gd name="T25" fmla="*/ 15 h 66"/>
                <a:gd name="T26" fmla="*/ 46 w 66"/>
                <a:gd name="T27" fmla="*/ 22 h 66"/>
                <a:gd name="T28" fmla="*/ 50 w 66"/>
                <a:gd name="T29" fmla="*/ 31 h 66"/>
                <a:gd name="T30" fmla="*/ 51 w 66"/>
                <a:gd name="T31" fmla="*/ 38 h 66"/>
                <a:gd name="T32" fmla="*/ 59 w 66"/>
                <a:gd name="T33" fmla="*/ 43 h 66"/>
                <a:gd name="T34" fmla="*/ 58 w 66"/>
                <a:gd name="T35" fmla="*/ 48 h 66"/>
                <a:gd name="T36" fmla="*/ 66 w 66"/>
                <a:gd name="T37" fmla="*/ 55 h 66"/>
                <a:gd name="T38" fmla="*/ 62 w 66"/>
                <a:gd name="T39" fmla="*/ 57 h 66"/>
                <a:gd name="T40" fmla="*/ 58 w 66"/>
                <a:gd name="T41" fmla="*/ 56 h 66"/>
                <a:gd name="T42" fmla="*/ 55 w 66"/>
                <a:gd name="T43" fmla="*/ 58 h 66"/>
                <a:gd name="T44" fmla="*/ 54 w 66"/>
                <a:gd name="T45" fmla="*/ 64 h 66"/>
                <a:gd name="T46" fmla="*/ 52 w 66"/>
                <a:gd name="T47" fmla="*/ 64 h 66"/>
                <a:gd name="T48" fmla="*/ 51 w 66"/>
                <a:gd name="T49" fmla="*/ 66 h 66"/>
                <a:gd name="T50" fmla="*/ 45 w 66"/>
                <a:gd name="T51" fmla="*/ 57 h 66"/>
                <a:gd name="T52" fmla="*/ 34 w 66"/>
                <a:gd name="T53" fmla="*/ 50 h 66"/>
                <a:gd name="T54" fmla="*/ 24 w 66"/>
                <a:gd name="T55" fmla="*/ 50 h 66"/>
                <a:gd name="T56" fmla="*/ 22 w 66"/>
                <a:gd name="T57" fmla="*/ 44 h 66"/>
                <a:gd name="T58" fmla="*/ 17 w 66"/>
                <a:gd name="T59" fmla="*/ 39 h 66"/>
                <a:gd name="T60" fmla="*/ 16 w 66"/>
                <a:gd name="T61" fmla="*/ 43 h 66"/>
                <a:gd name="T62" fmla="*/ 10 w 66"/>
                <a:gd name="T63" fmla="*/ 43 h 66"/>
                <a:gd name="T64" fmla="*/ 4 w 66"/>
                <a:gd name="T65" fmla="*/ 4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6" h="66">
                  <a:moveTo>
                    <a:pt x="4" y="42"/>
                  </a:moveTo>
                  <a:cubicBezTo>
                    <a:pt x="5" y="41"/>
                    <a:pt x="6" y="40"/>
                    <a:pt x="6" y="40"/>
                  </a:cubicBezTo>
                  <a:cubicBezTo>
                    <a:pt x="8" y="38"/>
                    <a:pt x="8" y="31"/>
                    <a:pt x="8" y="28"/>
                  </a:cubicBezTo>
                  <a:cubicBezTo>
                    <a:pt x="8" y="25"/>
                    <a:pt x="4" y="22"/>
                    <a:pt x="2" y="20"/>
                  </a:cubicBezTo>
                  <a:cubicBezTo>
                    <a:pt x="0" y="18"/>
                    <a:pt x="3" y="12"/>
                    <a:pt x="5" y="8"/>
                  </a:cubicBezTo>
                  <a:cubicBezTo>
                    <a:pt x="7" y="4"/>
                    <a:pt x="8" y="5"/>
                    <a:pt x="11" y="7"/>
                  </a:cubicBezTo>
                  <a:cubicBezTo>
                    <a:pt x="14" y="9"/>
                    <a:pt x="12" y="3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0" y="43"/>
                    <a:pt x="10" y="43"/>
                    <a:pt x="10" y="43"/>
                  </a:cubicBezTo>
                  <a:lnTo>
                    <a:pt x="4" y="42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3" name="Freeform 40"/>
            <p:cNvSpPr>
              <a:spLocks/>
            </p:cNvSpPr>
            <p:nvPr/>
          </p:nvSpPr>
          <p:spPr bwMode="auto">
            <a:xfrm>
              <a:off x="1152" y="3455"/>
              <a:ext cx="123" cy="136"/>
            </a:xfrm>
            <a:custGeom>
              <a:avLst/>
              <a:gdLst>
                <a:gd name="T0" fmla="*/ 123 w 123"/>
                <a:gd name="T1" fmla="*/ 23 h 136"/>
                <a:gd name="T2" fmla="*/ 121 w 123"/>
                <a:gd name="T3" fmla="*/ 23 h 136"/>
                <a:gd name="T4" fmla="*/ 108 w 123"/>
                <a:gd name="T5" fmla="*/ 36 h 136"/>
                <a:gd name="T6" fmla="*/ 110 w 123"/>
                <a:gd name="T7" fmla="*/ 48 h 136"/>
                <a:gd name="T8" fmla="*/ 106 w 123"/>
                <a:gd name="T9" fmla="*/ 69 h 136"/>
                <a:gd name="T10" fmla="*/ 112 w 123"/>
                <a:gd name="T11" fmla="*/ 79 h 136"/>
                <a:gd name="T12" fmla="*/ 112 w 123"/>
                <a:gd name="T13" fmla="*/ 100 h 136"/>
                <a:gd name="T14" fmla="*/ 96 w 123"/>
                <a:gd name="T15" fmla="*/ 98 h 136"/>
                <a:gd name="T16" fmla="*/ 92 w 123"/>
                <a:gd name="T17" fmla="*/ 109 h 136"/>
                <a:gd name="T18" fmla="*/ 60 w 123"/>
                <a:gd name="T19" fmla="*/ 132 h 136"/>
                <a:gd name="T20" fmla="*/ 46 w 123"/>
                <a:gd name="T21" fmla="*/ 136 h 136"/>
                <a:gd name="T22" fmla="*/ 52 w 123"/>
                <a:gd name="T23" fmla="*/ 134 h 136"/>
                <a:gd name="T24" fmla="*/ 27 w 123"/>
                <a:gd name="T25" fmla="*/ 102 h 136"/>
                <a:gd name="T26" fmla="*/ 6 w 123"/>
                <a:gd name="T27" fmla="*/ 86 h 136"/>
                <a:gd name="T28" fmla="*/ 8 w 123"/>
                <a:gd name="T29" fmla="*/ 79 h 136"/>
                <a:gd name="T30" fmla="*/ 0 w 123"/>
                <a:gd name="T31" fmla="*/ 67 h 136"/>
                <a:gd name="T32" fmla="*/ 21 w 123"/>
                <a:gd name="T33" fmla="*/ 67 h 136"/>
                <a:gd name="T34" fmla="*/ 23 w 123"/>
                <a:gd name="T35" fmla="*/ 54 h 136"/>
                <a:gd name="T36" fmla="*/ 19 w 123"/>
                <a:gd name="T37" fmla="*/ 50 h 136"/>
                <a:gd name="T38" fmla="*/ 19 w 123"/>
                <a:gd name="T39" fmla="*/ 34 h 136"/>
                <a:gd name="T40" fmla="*/ 14 w 123"/>
                <a:gd name="T41" fmla="*/ 27 h 136"/>
                <a:gd name="T42" fmla="*/ 27 w 123"/>
                <a:gd name="T43" fmla="*/ 19 h 136"/>
                <a:gd name="T44" fmla="*/ 48 w 123"/>
                <a:gd name="T45" fmla="*/ 0 h 136"/>
                <a:gd name="T46" fmla="*/ 69 w 123"/>
                <a:gd name="T47" fmla="*/ 2 h 136"/>
                <a:gd name="T48" fmla="*/ 79 w 123"/>
                <a:gd name="T49" fmla="*/ 13 h 136"/>
                <a:gd name="T50" fmla="*/ 92 w 123"/>
                <a:gd name="T51" fmla="*/ 15 h 136"/>
                <a:gd name="T52" fmla="*/ 98 w 123"/>
                <a:gd name="T53" fmla="*/ 7 h 136"/>
                <a:gd name="T54" fmla="*/ 104 w 123"/>
                <a:gd name="T55" fmla="*/ 13 h 136"/>
                <a:gd name="T56" fmla="*/ 119 w 123"/>
                <a:gd name="T57" fmla="*/ 15 h 136"/>
                <a:gd name="T58" fmla="*/ 123 w 123"/>
                <a:gd name="T59" fmla="*/ 2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3" h="136">
                  <a:moveTo>
                    <a:pt x="123" y="23"/>
                  </a:moveTo>
                  <a:lnTo>
                    <a:pt x="121" y="23"/>
                  </a:lnTo>
                  <a:lnTo>
                    <a:pt x="108" y="36"/>
                  </a:lnTo>
                  <a:lnTo>
                    <a:pt x="110" y="48"/>
                  </a:lnTo>
                  <a:lnTo>
                    <a:pt x="106" y="69"/>
                  </a:lnTo>
                  <a:lnTo>
                    <a:pt x="112" y="79"/>
                  </a:lnTo>
                  <a:lnTo>
                    <a:pt x="112" y="100"/>
                  </a:lnTo>
                  <a:lnTo>
                    <a:pt x="96" y="98"/>
                  </a:lnTo>
                  <a:lnTo>
                    <a:pt x="92" y="109"/>
                  </a:lnTo>
                  <a:lnTo>
                    <a:pt x="60" y="132"/>
                  </a:lnTo>
                  <a:lnTo>
                    <a:pt x="46" y="136"/>
                  </a:lnTo>
                  <a:lnTo>
                    <a:pt x="52" y="134"/>
                  </a:lnTo>
                  <a:lnTo>
                    <a:pt x="27" y="102"/>
                  </a:lnTo>
                  <a:lnTo>
                    <a:pt x="6" y="86"/>
                  </a:lnTo>
                  <a:lnTo>
                    <a:pt x="8" y="79"/>
                  </a:lnTo>
                  <a:lnTo>
                    <a:pt x="0" y="67"/>
                  </a:lnTo>
                  <a:lnTo>
                    <a:pt x="21" y="67"/>
                  </a:lnTo>
                  <a:lnTo>
                    <a:pt x="23" y="54"/>
                  </a:lnTo>
                  <a:lnTo>
                    <a:pt x="19" y="50"/>
                  </a:lnTo>
                  <a:lnTo>
                    <a:pt x="19" y="34"/>
                  </a:lnTo>
                  <a:lnTo>
                    <a:pt x="14" y="27"/>
                  </a:lnTo>
                  <a:lnTo>
                    <a:pt x="27" y="19"/>
                  </a:lnTo>
                  <a:lnTo>
                    <a:pt x="48" y="0"/>
                  </a:lnTo>
                  <a:lnTo>
                    <a:pt x="69" y="2"/>
                  </a:lnTo>
                  <a:lnTo>
                    <a:pt x="79" y="13"/>
                  </a:lnTo>
                  <a:lnTo>
                    <a:pt x="92" y="15"/>
                  </a:lnTo>
                  <a:lnTo>
                    <a:pt x="98" y="7"/>
                  </a:lnTo>
                  <a:lnTo>
                    <a:pt x="104" y="13"/>
                  </a:lnTo>
                  <a:lnTo>
                    <a:pt x="119" y="15"/>
                  </a:lnTo>
                  <a:lnTo>
                    <a:pt x="123" y="2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4" name="Freeform 41"/>
            <p:cNvSpPr>
              <a:spLocks/>
            </p:cNvSpPr>
            <p:nvPr/>
          </p:nvSpPr>
          <p:spPr bwMode="auto">
            <a:xfrm>
              <a:off x="960" y="3443"/>
              <a:ext cx="109" cy="146"/>
            </a:xfrm>
            <a:custGeom>
              <a:avLst/>
              <a:gdLst>
                <a:gd name="T0" fmla="*/ 36 w 52"/>
                <a:gd name="T1" fmla="*/ 70 h 70"/>
                <a:gd name="T2" fmla="*/ 31 w 52"/>
                <a:gd name="T3" fmla="*/ 64 h 70"/>
                <a:gd name="T4" fmla="*/ 29 w 52"/>
                <a:gd name="T5" fmla="*/ 56 h 70"/>
                <a:gd name="T6" fmla="*/ 22 w 52"/>
                <a:gd name="T7" fmla="*/ 53 h 70"/>
                <a:gd name="T8" fmla="*/ 20 w 52"/>
                <a:gd name="T9" fmla="*/ 46 h 70"/>
                <a:gd name="T10" fmla="*/ 24 w 52"/>
                <a:gd name="T11" fmla="*/ 36 h 70"/>
                <a:gd name="T12" fmla="*/ 14 w 52"/>
                <a:gd name="T13" fmla="*/ 31 h 70"/>
                <a:gd name="T14" fmla="*/ 6 w 52"/>
                <a:gd name="T15" fmla="*/ 23 h 70"/>
                <a:gd name="T16" fmla="*/ 3 w 52"/>
                <a:gd name="T17" fmla="*/ 14 h 70"/>
                <a:gd name="T18" fmla="*/ 0 w 52"/>
                <a:gd name="T19" fmla="*/ 8 h 70"/>
                <a:gd name="T20" fmla="*/ 3 w 52"/>
                <a:gd name="T21" fmla="*/ 3 h 70"/>
                <a:gd name="T22" fmla="*/ 9 w 52"/>
                <a:gd name="T23" fmla="*/ 4 h 70"/>
                <a:gd name="T24" fmla="*/ 15 w 52"/>
                <a:gd name="T25" fmla="*/ 4 h 70"/>
                <a:gd name="T26" fmla="*/ 16 w 52"/>
                <a:gd name="T27" fmla="*/ 0 h 70"/>
                <a:gd name="T28" fmla="*/ 21 w 52"/>
                <a:gd name="T29" fmla="*/ 5 h 70"/>
                <a:gd name="T30" fmla="*/ 23 w 52"/>
                <a:gd name="T31" fmla="*/ 11 h 70"/>
                <a:gd name="T32" fmla="*/ 33 w 52"/>
                <a:gd name="T33" fmla="*/ 11 h 70"/>
                <a:gd name="T34" fmla="*/ 44 w 52"/>
                <a:gd name="T35" fmla="*/ 18 h 70"/>
                <a:gd name="T36" fmla="*/ 50 w 52"/>
                <a:gd name="T37" fmla="*/ 27 h 70"/>
                <a:gd name="T38" fmla="*/ 50 w 52"/>
                <a:gd name="T39" fmla="*/ 31 h 70"/>
                <a:gd name="T40" fmla="*/ 49 w 52"/>
                <a:gd name="T41" fmla="*/ 36 h 70"/>
                <a:gd name="T42" fmla="*/ 52 w 52"/>
                <a:gd name="T43" fmla="*/ 41 h 70"/>
                <a:gd name="T44" fmla="*/ 46 w 52"/>
                <a:gd name="T45" fmla="*/ 44 h 70"/>
                <a:gd name="T46" fmla="*/ 47 w 52"/>
                <a:gd name="T47" fmla="*/ 55 h 70"/>
                <a:gd name="T48" fmla="*/ 42 w 52"/>
                <a:gd name="T49" fmla="*/ 58 h 70"/>
                <a:gd name="T50" fmla="*/ 42 w 52"/>
                <a:gd name="T51" fmla="*/ 62 h 70"/>
                <a:gd name="T52" fmla="*/ 40 w 52"/>
                <a:gd name="T53" fmla="*/ 63 h 70"/>
                <a:gd name="T54" fmla="*/ 40 w 52"/>
                <a:gd name="T55" fmla="*/ 67 h 70"/>
                <a:gd name="T56" fmla="*/ 36 w 52"/>
                <a:gd name="T5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" h="70">
                  <a:moveTo>
                    <a:pt x="36" y="70"/>
                  </a:moveTo>
                  <a:cubicBezTo>
                    <a:pt x="34" y="69"/>
                    <a:pt x="32" y="67"/>
                    <a:pt x="31" y="64"/>
                  </a:cubicBezTo>
                  <a:cubicBezTo>
                    <a:pt x="30" y="60"/>
                    <a:pt x="29" y="60"/>
                    <a:pt x="29" y="56"/>
                  </a:cubicBezTo>
                  <a:cubicBezTo>
                    <a:pt x="29" y="53"/>
                    <a:pt x="25" y="55"/>
                    <a:pt x="22" y="53"/>
                  </a:cubicBezTo>
                  <a:cubicBezTo>
                    <a:pt x="19" y="50"/>
                    <a:pt x="20" y="49"/>
                    <a:pt x="20" y="46"/>
                  </a:cubicBezTo>
                  <a:cubicBezTo>
                    <a:pt x="20" y="43"/>
                    <a:pt x="23" y="41"/>
                    <a:pt x="24" y="36"/>
                  </a:cubicBezTo>
                  <a:cubicBezTo>
                    <a:pt x="24" y="32"/>
                    <a:pt x="18" y="33"/>
                    <a:pt x="14" y="31"/>
                  </a:cubicBezTo>
                  <a:cubicBezTo>
                    <a:pt x="10" y="29"/>
                    <a:pt x="6" y="27"/>
                    <a:pt x="6" y="23"/>
                  </a:cubicBezTo>
                  <a:cubicBezTo>
                    <a:pt x="6" y="19"/>
                    <a:pt x="6" y="14"/>
                    <a:pt x="3" y="14"/>
                  </a:cubicBezTo>
                  <a:cubicBezTo>
                    <a:pt x="1" y="14"/>
                    <a:pt x="0" y="11"/>
                    <a:pt x="0" y="8"/>
                  </a:cubicBezTo>
                  <a:cubicBezTo>
                    <a:pt x="0" y="6"/>
                    <a:pt x="2" y="4"/>
                    <a:pt x="3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67"/>
                    <a:pt x="40" y="67"/>
                    <a:pt x="40" y="67"/>
                  </a:cubicBezTo>
                  <a:lnTo>
                    <a:pt x="36" y="7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5" name="Freeform 42"/>
            <p:cNvSpPr>
              <a:spLocks/>
            </p:cNvSpPr>
            <p:nvPr/>
          </p:nvSpPr>
          <p:spPr bwMode="auto">
            <a:xfrm>
              <a:off x="1035" y="3474"/>
              <a:ext cx="169" cy="169"/>
            </a:xfrm>
            <a:custGeom>
              <a:avLst/>
              <a:gdLst>
                <a:gd name="T0" fmla="*/ 7 w 81"/>
                <a:gd name="T1" fmla="*/ 72 h 81"/>
                <a:gd name="T2" fmla="*/ 4 w 81"/>
                <a:gd name="T3" fmla="*/ 65 h 81"/>
                <a:gd name="T4" fmla="*/ 0 w 81"/>
                <a:gd name="T5" fmla="*/ 55 h 81"/>
                <a:gd name="T6" fmla="*/ 0 w 81"/>
                <a:gd name="T7" fmla="*/ 55 h 81"/>
                <a:gd name="T8" fmla="*/ 4 w 81"/>
                <a:gd name="T9" fmla="*/ 52 h 81"/>
                <a:gd name="T10" fmla="*/ 4 w 81"/>
                <a:gd name="T11" fmla="*/ 48 h 81"/>
                <a:gd name="T12" fmla="*/ 6 w 81"/>
                <a:gd name="T13" fmla="*/ 47 h 81"/>
                <a:gd name="T14" fmla="*/ 6 w 81"/>
                <a:gd name="T15" fmla="*/ 43 h 81"/>
                <a:gd name="T16" fmla="*/ 11 w 81"/>
                <a:gd name="T17" fmla="*/ 40 h 81"/>
                <a:gd name="T18" fmla="*/ 10 w 81"/>
                <a:gd name="T19" fmla="*/ 29 h 81"/>
                <a:gd name="T20" fmla="*/ 16 w 81"/>
                <a:gd name="T21" fmla="*/ 26 h 81"/>
                <a:gd name="T22" fmla="*/ 13 w 81"/>
                <a:gd name="T23" fmla="*/ 21 h 81"/>
                <a:gd name="T24" fmla="*/ 14 w 81"/>
                <a:gd name="T25" fmla="*/ 16 h 81"/>
                <a:gd name="T26" fmla="*/ 15 w 81"/>
                <a:gd name="T27" fmla="*/ 10 h 81"/>
                <a:gd name="T28" fmla="*/ 17 w 81"/>
                <a:gd name="T29" fmla="*/ 10 h 81"/>
                <a:gd name="T30" fmla="*/ 18 w 81"/>
                <a:gd name="T31" fmla="*/ 4 h 81"/>
                <a:gd name="T32" fmla="*/ 21 w 81"/>
                <a:gd name="T33" fmla="*/ 2 h 81"/>
                <a:gd name="T34" fmla="*/ 25 w 81"/>
                <a:gd name="T35" fmla="*/ 3 h 81"/>
                <a:gd name="T36" fmla="*/ 29 w 81"/>
                <a:gd name="T37" fmla="*/ 1 h 81"/>
                <a:gd name="T38" fmla="*/ 35 w 81"/>
                <a:gd name="T39" fmla="*/ 0 h 81"/>
                <a:gd name="T40" fmla="*/ 38 w 81"/>
                <a:gd name="T41" fmla="*/ 6 h 81"/>
                <a:gd name="T42" fmla="*/ 45 w 81"/>
                <a:gd name="T43" fmla="*/ 8 h 81"/>
                <a:gd name="T44" fmla="*/ 44 w 81"/>
                <a:gd name="T45" fmla="*/ 15 h 81"/>
                <a:gd name="T46" fmla="*/ 47 w 81"/>
                <a:gd name="T47" fmla="*/ 16 h 81"/>
                <a:gd name="T48" fmla="*/ 53 w 81"/>
                <a:gd name="T49" fmla="*/ 18 h 81"/>
                <a:gd name="T50" fmla="*/ 60 w 81"/>
                <a:gd name="T51" fmla="*/ 29 h 81"/>
                <a:gd name="T52" fmla="*/ 59 w 81"/>
                <a:gd name="T53" fmla="*/ 32 h 81"/>
                <a:gd name="T54" fmla="*/ 69 w 81"/>
                <a:gd name="T55" fmla="*/ 40 h 81"/>
                <a:gd name="T56" fmla="*/ 81 w 81"/>
                <a:gd name="T57" fmla="*/ 55 h 81"/>
                <a:gd name="T58" fmla="*/ 78 w 81"/>
                <a:gd name="T59" fmla="*/ 56 h 81"/>
                <a:gd name="T60" fmla="*/ 81 w 81"/>
                <a:gd name="T61" fmla="*/ 62 h 81"/>
                <a:gd name="T62" fmla="*/ 78 w 81"/>
                <a:gd name="T63" fmla="*/ 65 h 81"/>
                <a:gd name="T64" fmla="*/ 72 w 81"/>
                <a:gd name="T65" fmla="*/ 64 h 81"/>
                <a:gd name="T66" fmla="*/ 67 w 81"/>
                <a:gd name="T67" fmla="*/ 61 h 81"/>
                <a:gd name="T68" fmla="*/ 61 w 81"/>
                <a:gd name="T69" fmla="*/ 58 h 81"/>
                <a:gd name="T70" fmla="*/ 56 w 81"/>
                <a:gd name="T71" fmla="*/ 61 h 81"/>
                <a:gd name="T72" fmla="*/ 45 w 81"/>
                <a:gd name="T73" fmla="*/ 61 h 81"/>
                <a:gd name="T74" fmla="*/ 45 w 81"/>
                <a:gd name="T75" fmla="*/ 66 h 81"/>
                <a:gd name="T76" fmla="*/ 36 w 81"/>
                <a:gd name="T77" fmla="*/ 77 h 81"/>
                <a:gd name="T78" fmla="*/ 27 w 81"/>
                <a:gd name="T79" fmla="*/ 77 h 81"/>
                <a:gd name="T80" fmla="*/ 25 w 81"/>
                <a:gd name="T81" fmla="*/ 79 h 81"/>
                <a:gd name="T82" fmla="*/ 20 w 81"/>
                <a:gd name="T83" fmla="*/ 81 h 81"/>
                <a:gd name="T84" fmla="*/ 17 w 81"/>
                <a:gd name="T85" fmla="*/ 77 h 81"/>
                <a:gd name="T86" fmla="*/ 11 w 81"/>
                <a:gd name="T87" fmla="*/ 76 h 81"/>
                <a:gd name="T88" fmla="*/ 10 w 81"/>
                <a:gd name="T89" fmla="*/ 71 h 81"/>
                <a:gd name="T90" fmla="*/ 7 w 81"/>
                <a:gd name="T91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1" h="81">
                  <a:moveTo>
                    <a:pt x="7" y="72"/>
                  </a:moveTo>
                  <a:cubicBezTo>
                    <a:pt x="6" y="69"/>
                    <a:pt x="3" y="68"/>
                    <a:pt x="4" y="65"/>
                  </a:cubicBezTo>
                  <a:cubicBezTo>
                    <a:pt x="4" y="62"/>
                    <a:pt x="1" y="57"/>
                    <a:pt x="0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78" y="65"/>
                    <a:pt x="78" y="65"/>
                    <a:pt x="78" y="65"/>
                  </a:cubicBezTo>
                  <a:cubicBezTo>
                    <a:pt x="77" y="65"/>
                    <a:pt x="72" y="64"/>
                    <a:pt x="72" y="64"/>
                  </a:cubicBezTo>
                  <a:cubicBezTo>
                    <a:pt x="71" y="64"/>
                    <a:pt x="67" y="63"/>
                    <a:pt x="67" y="61"/>
                  </a:cubicBezTo>
                  <a:cubicBezTo>
                    <a:pt x="67" y="58"/>
                    <a:pt x="63" y="58"/>
                    <a:pt x="61" y="58"/>
                  </a:cubicBezTo>
                  <a:cubicBezTo>
                    <a:pt x="58" y="58"/>
                    <a:pt x="56" y="61"/>
                    <a:pt x="56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4"/>
                    <a:pt x="45" y="66"/>
                  </a:cubicBezTo>
                  <a:cubicBezTo>
                    <a:pt x="46" y="69"/>
                    <a:pt x="36" y="77"/>
                    <a:pt x="36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5" y="78"/>
                    <a:pt x="25" y="79"/>
                  </a:cubicBezTo>
                  <a:cubicBezTo>
                    <a:pt x="25" y="81"/>
                    <a:pt x="22" y="81"/>
                    <a:pt x="20" y="81"/>
                  </a:cubicBezTo>
                  <a:cubicBezTo>
                    <a:pt x="19" y="81"/>
                    <a:pt x="17" y="77"/>
                    <a:pt x="17" y="77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0" y="71"/>
                    <a:pt x="10" y="71"/>
                    <a:pt x="10" y="71"/>
                  </a:cubicBezTo>
                  <a:lnTo>
                    <a:pt x="7" y="72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6" name="Freeform 43"/>
            <p:cNvSpPr>
              <a:spLocks/>
            </p:cNvSpPr>
            <p:nvPr/>
          </p:nvSpPr>
          <p:spPr bwMode="auto">
            <a:xfrm>
              <a:off x="1175" y="3364"/>
              <a:ext cx="154" cy="114"/>
            </a:xfrm>
            <a:custGeom>
              <a:avLst/>
              <a:gdLst>
                <a:gd name="T0" fmla="*/ 146 w 154"/>
                <a:gd name="T1" fmla="*/ 39 h 114"/>
                <a:gd name="T2" fmla="*/ 144 w 154"/>
                <a:gd name="T3" fmla="*/ 41 h 114"/>
                <a:gd name="T4" fmla="*/ 142 w 154"/>
                <a:gd name="T5" fmla="*/ 56 h 114"/>
                <a:gd name="T6" fmla="*/ 154 w 154"/>
                <a:gd name="T7" fmla="*/ 68 h 114"/>
                <a:gd name="T8" fmla="*/ 154 w 154"/>
                <a:gd name="T9" fmla="*/ 85 h 114"/>
                <a:gd name="T10" fmla="*/ 137 w 154"/>
                <a:gd name="T11" fmla="*/ 87 h 114"/>
                <a:gd name="T12" fmla="*/ 129 w 154"/>
                <a:gd name="T13" fmla="*/ 100 h 114"/>
                <a:gd name="T14" fmla="*/ 121 w 154"/>
                <a:gd name="T15" fmla="*/ 100 h 114"/>
                <a:gd name="T16" fmla="*/ 121 w 154"/>
                <a:gd name="T17" fmla="*/ 106 h 114"/>
                <a:gd name="T18" fmla="*/ 110 w 154"/>
                <a:gd name="T19" fmla="*/ 114 h 114"/>
                <a:gd name="T20" fmla="*/ 100 w 154"/>
                <a:gd name="T21" fmla="*/ 114 h 114"/>
                <a:gd name="T22" fmla="*/ 96 w 154"/>
                <a:gd name="T23" fmla="*/ 106 h 114"/>
                <a:gd name="T24" fmla="*/ 81 w 154"/>
                <a:gd name="T25" fmla="*/ 104 h 114"/>
                <a:gd name="T26" fmla="*/ 75 w 154"/>
                <a:gd name="T27" fmla="*/ 98 h 114"/>
                <a:gd name="T28" fmla="*/ 69 w 154"/>
                <a:gd name="T29" fmla="*/ 106 h 114"/>
                <a:gd name="T30" fmla="*/ 56 w 154"/>
                <a:gd name="T31" fmla="*/ 104 h 114"/>
                <a:gd name="T32" fmla="*/ 46 w 154"/>
                <a:gd name="T33" fmla="*/ 93 h 114"/>
                <a:gd name="T34" fmla="*/ 29 w 154"/>
                <a:gd name="T35" fmla="*/ 91 h 114"/>
                <a:gd name="T36" fmla="*/ 27 w 154"/>
                <a:gd name="T37" fmla="*/ 73 h 114"/>
                <a:gd name="T38" fmla="*/ 16 w 154"/>
                <a:gd name="T39" fmla="*/ 62 h 114"/>
                <a:gd name="T40" fmla="*/ 6 w 154"/>
                <a:gd name="T41" fmla="*/ 68 h 114"/>
                <a:gd name="T42" fmla="*/ 4 w 154"/>
                <a:gd name="T43" fmla="*/ 60 h 114"/>
                <a:gd name="T44" fmla="*/ 4 w 154"/>
                <a:gd name="T45" fmla="*/ 50 h 114"/>
                <a:gd name="T46" fmla="*/ 0 w 154"/>
                <a:gd name="T47" fmla="*/ 48 h 114"/>
                <a:gd name="T48" fmla="*/ 4 w 154"/>
                <a:gd name="T49" fmla="*/ 41 h 114"/>
                <a:gd name="T50" fmla="*/ 19 w 154"/>
                <a:gd name="T51" fmla="*/ 31 h 114"/>
                <a:gd name="T52" fmla="*/ 19 w 154"/>
                <a:gd name="T53" fmla="*/ 18 h 114"/>
                <a:gd name="T54" fmla="*/ 33 w 154"/>
                <a:gd name="T55" fmla="*/ 10 h 114"/>
                <a:gd name="T56" fmla="*/ 37 w 154"/>
                <a:gd name="T57" fmla="*/ 2 h 114"/>
                <a:gd name="T58" fmla="*/ 46 w 154"/>
                <a:gd name="T59" fmla="*/ 2 h 114"/>
                <a:gd name="T60" fmla="*/ 50 w 154"/>
                <a:gd name="T61" fmla="*/ 6 h 114"/>
                <a:gd name="T62" fmla="*/ 64 w 154"/>
                <a:gd name="T63" fmla="*/ 0 h 114"/>
                <a:gd name="T64" fmla="*/ 79 w 154"/>
                <a:gd name="T65" fmla="*/ 6 h 114"/>
                <a:gd name="T66" fmla="*/ 91 w 154"/>
                <a:gd name="T67" fmla="*/ 0 h 114"/>
                <a:gd name="T68" fmla="*/ 108 w 154"/>
                <a:gd name="T69" fmla="*/ 0 h 114"/>
                <a:gd name="T70" fmla="*/ 114 w 154"/>
                <a:gd name="T71" fmla="*/ 10 h 114"/>
                <a:gd name="T72" fmla="*/ 123 w 154"/>
                <a:gd name="T73" fmla="*/ 16 h 114"/>
                <a:gd name="T74" fmla="*/ 125 w 154"/>
                <a:gd name="T75" fmla="*/ 25 h 114"/>
                <a:gd name="T76" fmla="*/ 137 w 154"/>
                <a:gd name="T77" fmla="*/ 35 h 114"/>
                <a:gd name="T78" fmla="*/ 146 w 154"/>
                <a:gd name="T79" fmla="*/ 3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4" h="114">
                  <a:moveTo>
                    <a:pt x="146" y="39"/>
                  </a:moveTo>
                  <a:lnTo>
                    <a:pt x="144" y="41"/>
                  </a:lnTo>
                  <a:lnTo>
                    <a:pt x="142" y="56"/>
                  </a:lnTo>
                  <a:lnTo>
                    <a:pt x="154" y="68"/>
                  </a:lnTo>
                  <a:lnTo>
                    <a:pt x="154" y="85"/>
                  </a:lnTo>
                  <a:lnTo>
                    <a:pt x="137" y="87"/>
                  </a:lnTo>
                  <a:lnTo>
                    <a:pt x="129" y="100"/>
                  </a:lnTo>
                  <a:lnTo>
                    <a:pt x="121" y="100"/>
                  </a:lnTo>
                  <a:lnTo>
                    <a:pt x="121" y="106"/>
                  </a:lnTo>
                  <a:lnTo>
                    <a:pt x="110" y="114"/>
                  </a:lnTo>
                  <a:lnTo>
                    <a:pt x="100" y="114"/>
                  </a:lnTo>
                  <a:lnTo>
                    <a:pt x="96" y="106"/>
                  </a:lnTo>
                  <a:lnTo>
                    <a:pt x="81" y="104"/>
                  </a:lnTo>
                  <a:lnTo>
                    <a:pt x="75" y="98"/>
                  </a:lnTo>
                  <a:lnTo>
                    <a:pt x="69" y="106"/>
                  </a:lnTo>
                  <a:lnTo>
                    <a:pt x="56" y="104"/>
                  </a:lnTo>
                  <a:lnTo>
                    <a:pt x="46" y="93"/>
                  </a:lnTo>
                  <a:lnTo>
                    <a:pt x="29" y="91"/>
                  </a:lnTo>
                  <a:lnTo>
                    <a:pt x="27" y="73"/>
                  </a:lnTo>
                  <a:lnTo>
                    <a:pt x="16" y="62"/>
                  </a:lnTo>
                  <a:lnTo>
                    <a:pt x="6" y="68"/>
                  </a:lnTo>
                  <a:lnTo>
                    <a:pt x="4" y="60"/>
                  </a:lnTo>
                  <a:lnTo>
                    <a:pt x="4" y="50"/>
                  </a:lnTo>
                  <a:lnTo>
                    <a:pt x="0" y="48"/>
                  </a:lnTo>
                  <a:lnTo>
                    <a:pt x="4" y="41"/>
                  </a:lnTo>
                  <a:lnTo>
                    <a:pt x="19" y="31"/>
                  </a:lnTo>
                  <a:lnTo>
                    <a:pt x="19" y="18"/>
                  </a:lnTo>
                  <a:lnTo>
                    <a:pt x="33" y="10"/>
                  </a:lnTo>
                  <a:lnTo>
                    <a:pt x="37" y="2"/>
                  </a:lnTo>
                  <a:lnTo>
                    <a:pt x="46" y="2"/>
                  </a:lnTo>
                  <a:lnTo>
                    <a:pt x="50" y="6"/>
                  </a:lnTo>
                  <a:lnTo>
                    <a:pt x="64" y="0"/>
                  </a:lnTo>
                  <a:lnTo>
                    <a:pt x="79" y="6"/>
                  </a:lnTo>
                  <a:lnTo>
                    <a:pt x="91" y="0"/>
                  </a:lnTo>
                  <a:lnTo>
                    <a:pt x="108" y="0"/>
                  </a:lnTo>
                  <a:lnTo>
                    <a:pt x="114" y="10"/>
                  </a:lnTo>
                  <a:lnTo>
                    <a:pt x="123" y="16"/>
                  </a:lnTo>
                  <a:lnTo>
                    <a:pt x="125" y="25"/>
                  </a:lnTo>
                  <a:lnTo>
                    <a:pt x="137" y="35"/>
                  </a:lnTo>
                  <a:lnTo>
                    <a:pt x="146" y="39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7" name="Freeform 44"/>
            <p:cNvSpPr>
              <a:spLocks/>
            </p:cNvSpPr>
            <p:nvPr/>
          </p:nvSpPr>
          <p:spPr bwMode="auto">
            <a:xfrm>
              <a:off x="1079" y="3412"/>
              <a:ext cx="125" cy="110"/>
            </a:xfrm>
            <a:custGeom>
              <a:avLst/>
              <a:gdLst>
                <a:gd name="T0" fmla="*/ 2 w 125"/>
                <a:gd name="T1" fmla="*/ 39 h 110"/>
                <a:gd name="T2" fmla="*/ 21 w 125"/>
                <a:gd name="T3" fmla="*/ 33 h 110"/>
                <a:gd name="T4" fmla="*/ 25 w 125"/>
                <a:gd name="T5" fmla="*/ 29 h 110"/>
                <a:gd name="T6" fmla="*/ 21 w 125"/>
                <a:gd name="T7" fmla="*/ 22 h 110"/>
                <a:gd name="T8" fmla="*/ 31 w 125"/>
                <a:gd name="T9" fmla="*/ 14 h 110"/>
                <a:gd name="T10" fmla="*/ 37 w 125"/>
                <a:gd name="T11" fmla="*/ 2 h 110"/>
                <a:gd name="T12" fmla="*/ 52 w 125"/>
                <a:gd name="T13" fmla="*/ 0 h 110"/>
                <a:gd name="T14" fmla="*/ 60 w 125"/>
                <a:gd name="T15" fmla="*/ 14 h 110"/>
                <a:gd name="T16" fmla="*/ 71 w 125"/>
                <a:gd name="T17" fmla="*/ 14 h 110"/>
                <a:gd name="T18" fmla="*/ 75 w 125"/>
                <a:gd name="T19" fmla="*/ 4 h 110"/>
                <a:gd name="T20" fmla="*/ 87 w 125"/>
                <a:gd name="T21" fmla="*/ 4 h 110"/>
                <a:gd name="T22" fmla="*/ 94 w 125"/>
                <a:gd name="T23" fmla="*/ 0 h 110"/>
                <a:gd name="T24" fmla="*/ 100 w 125"/>
                <a:gd name="T25" fmla="*/ 2 h 110"/>
                <a:gd name="T26" fmla="*/ 100 w 125"/>
                <a:gd name="T27" fmla="*/ 12 h 110"/>
                <a:gd name="T28" fmla="*/ 102 w 125"/>
                <a:gd name="T29" fmla="*/ 20 h 110"/>
                <a:gd name="T30" fmla="*/ 112 w 125"/>
                <a:gd name="T31" fmla="*/ 14 h 110"/>
                <a:gd name="T32" fmla="*/ 123 w 125"/>
                <a:gd name="T33" fmla="*/ 25 h 110"/>
                <a:gd name="T34" fmla="*/ 125 w 125"/>
                <a:gd name="T35" fmla="*/ 43 h 110"/>
                <a:gd name="T36" fmla="*/ 121 w 125"/>
                <a:gd name="T37" fmla="*/ 43 h 110"/>
                <a:gd name="T38" fmla="*/ 100 w 125"/>
                <a:gd name="T39" fmla="*/ 62 h 110"/>
                <a:gd name="T40" fmla="*/ 87 w 125"/>
                <a:gd name="T41" fmla="*/ 70 h 110"/>
                <a:gd name="T42" fmla="*/ 92 w 125"/>
                <a:gd name="T43" fmla="*/ 77 h 110"/>
                <a:gd name="T44" fmla="*/ 92 w 125"/>
                <a:gd name="T45" fmla="*/ 93 h 110"/>
                <a:gd name="T46" fmla="*/ 96 w 125"/>
                <a:gd name="T47" fmla="*/ 97 h 110"/>
                <a:gd name="T48" fmla="*/ 94 w 125"/>
                <a:gd name="T49" fmla="*/ 110 h 110"/>
                <a:gd name="T50" fmla="*/ 73 w 125"/>
                <a:gd name="T51" fmla="*/ 110 h 110"/>
                <a:gd name="T52" fmla="*/ 67 w 125"/>
                <a:gd name="T53" fmla="*/ 100 h 110"/>
                <a:gd name="T54" fmla="*/ 54 w 125"/>
                <a:gd name="T55" fmla="*/ 95 h 110"/>
                <a:gd name="T56" fmla="*/ 48 w 125"/>
                <a:gd name="T57" fmla="*/ 93 h 110"/>
                <a:gd name="T58" fmla="*/ 50 w 125"/>
                <a:gd name="T59" fmla="*/ 79 h 110"/>
                <a:gd name="T60" fmla="*/ 35 w 125"/>
                <a:gd name="T61" fmla="*/ 75 h 110"/>
                <a:gd name="T62" fmla="*/ 29 w 125"/>
                <a:gd name="T63" fmla="*/ 62 h 110"/>
                <a:gd name="T64" fmla="*/ 17 w 125"/>
                <a:gd name="T65" fmla="*/ 64 h 110"/>
                <a:gd name="T66" fmla="*/ 17 w 125"/>
                <a:gd name="T67" fmla="*/ 64 h 110"/>
                <a:gd name="T68" fmla="*/ 0 w 125"/>
                <a:gd name="T69" fmla="*/ 50 h 110"/>
                <a:gd name="T70" fmla="*/ 2 w 125"/>
                <a:gd name="T71" fmla="*/ 3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5" h="110">
                  <a:moveTo>
                    <a:pt x="2" y="39"/>
                  </a:moveTo>
                  <a:lnTo>
                    <a:pt x="21" y="33"/>
                  </a:lnTo>
                  <a:lnTo>
                    <a:pt x="25" y="29"/>
                  </a:lnTo>
                  <a:lnTo>
                    <a:pt x="21" y="22"/>
                  </a:lnTo>
                  <a:lnTo>
                    <a:pt x="31" y="14"/>
                  </a:lnTo>
                  <a:lnTo>
                    <a:pt x="37" y="2"/>
                  </a:lnTo>
                  <a:lnTo>
                    <a:pt x="52" y="0"/>
                  </a:lnTo>
                  <a:lnTo>
                    <a:pt x="60" y="14"/>
                  </a:lnTo>
                  <a:lnTo>
                    <a:pt x="71" y="14"/>
                  </a:lnTo>
                  <a:lnTo>
                    <a:pt x="75" y="4"/>
                  </a:lnTo>
                  <a:lnTo>
                    <a:pt x="87" y="4"/>
                  </a:lnTo>
                  <a:lnTo>
                    <a:pt x="94" y="0"/>
                  </a:lnTo>
                  <a:lnTo>
                    <a:pt x="100" y="2"/>
                  </a:lnTo>
                  <a:lnTo>
                    <a:pt x="100" y="12"/>
                  </a:lnTo>
                  <a:lnTo>
                    <a:pt x="102" y="20"/>
                  </a:lnTo>
                  <a:lnTo>
                    <a:pt x="112" y="14"/>
                  </a:lnTo>
                  <a:lnTo>
                    <a:pt x="123" y="25"/>
                  </a:lnTo>
                  <a:lnTo>
                    <a:pt x="125" y="43"/>
                  </a:lnTo>
                  <a:lnTo>
                    <a:pt x="121" y="43"/>
                  </a:lnTo>
                  <a:lnTo>
                    <a:pt x="100" y="62"/>
                  </a:lnTo>
                  <a:lnTo>
                    <a:pt x="87" y="70"/>
                  </a:lnTo>
                  <a:lnTo>
                    <a:pt x="92" y="77"/>
                  </a:lnTo>
                  <a:lnTo>
                    <a:pt x="92" y="93"/>
                  </a:lnTo>
                  <a:lnTo>
                    <a:pt x="96" y="97"/>
                  </a:lnTo>
                  <a:lnTo>
                    <a:pt x="94" y="110"/>
                  </a:lnTo>
                  <a:lnTo>
                    <a:pt x="73" y="110"/>
                  </a:lnTo>
                  <a:lnTo>
                    <a:pt x="67" y="100"/>
                  </a:lnTo>
                  <a:lnTo>
                    <a:pt x="54" y="95"/>
                  </a:lnTo>
                  <a:lnTo>
                    <a:pt x="48" y="93"/>
                  </a:lnTo>
                  <a:lnTo>
                    <a:pt x="50" y="79"/>
                  </a:lnTo>
                  <a:lnTo>
                    <a:pt x="35" y="75"/>
                  </a:lnTo>
                  <a:lnTo>
                    <a:pt x="29" y="62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0" y="50"/>
                  </a:lnTo>
                  <a:lnTo>
                    <a:pt x="2" y="39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8" name="Freeform 45"/>
            <p:cNvSpPr>
              <a:spLocks/>
            </p:cNvSpPr>
            <p:nvPr/>
          </p:nvSpPr>
          <p:spPr bwMode="auto">
            <a:xfrm>
              <a:off x="1021" y="3330"/>
              <a:ext cx="108" cy="121"/>
            </a:xfrm>
            <a:custGeom>
              <a:avLst/>
              <a:gdLst>
                <a:gd name="T0" fmla="*/ 0 w 108"/>
                <a:gd name="T1" fmla="*/ 38 h 121"/>
                <a:gd name="T2" fmla="*/ 2 w 108"/>
                <a:gd name="T3" fmla="*/ 29 h 121"/>
                <a:gd name="T4" fmla="*/ 14 w 108"/>
                <a:gd name="T5" fmla="*/ 25 h 121"/>
                <a:gd name="T6" fmla="*/ 14 w 108"/>
                <a:gd name="T7" fmla="*/ 13 h 121"/>
                <a:gd name="T8" fmla="*/ 27 w 108"/>
                <a:gd name="T9" fmla="*/ 9 h 121"/>
                <a:gd name="T10" fmla="*/ 33 w 108"/>
                <a:gd name="T11" fmla="*/ 17 h 121"/>
                <a:gd name="T12" fmla="*/ 39 w 108"/>
                <a:gd name="T13" fmla="*/ 13 h 121"/>
                <a:gd name="T14" fmla="*/ 39 w 108"/>
                <a:gd name="T15" fmla="*/ 2 h 121"/>
                <a:gd name="T16" fmla="*/ 45 w 108"/>
                <a:gd name="T17" fmla="*/ 0 h 121"/>
                <a:gd name="T18" fmla="*/ 60 w 108"/>
                <a:gd name="T19" fmla="*/ 6 h 121"/>
                <a:gd name="T20" fmla="*/ 75 w 108"/>
                <a:gd name="T21" fmla="*/ 6 h 121"/>
                <a:gd name="T22" fmla="*/ 79 w 108"/>
                <a:gd name="T23" fmla="*/ 11 h 121"/>
                <a:gd name="T24" fmla="*/ 81 w 108"/>
                <a:gd name="T25" fmla="*/ 27 h 121"/>
                <a:gd name="T26" fmla="*/ 95 w 108"/>
                <a:gd name="T27" fmla="*/ 50 h 121"/>
                <a:gd name="T28" fmla="*/ 108 w 108"/>
                <a:gd name="T29" fmla="*/ 59 h 121"/>
                <a:gd name="T30" fmla="*/ 108 w 108"/>
                <a:gd name="T31" fmla="*/ 82 h 121"/>
                <a:gd name="T32" fmla="*/ 95 w 108"/>
                <a:gd name="T33" fmla="*/ 84 h 121"/>
                <a:gd name="T34" fmla="*/ 89 w 108"/>
                <a:gd name="T35" fmla="*/ 96 h 121"/>
                <a:gd name="T36" fmla="*/ 79 w 108"/>
                <a:gd name="T37" fmla="*/ 104 h 121"/>
                <a:gd name="T38" fmla="*/ 83 w 108"/>
                <a:gd name="T39" fmla="*/ 111 h 121"/>
                <a:gd name="T40" fmla="*/ 79 w 108"/>
                <a:gd name="T41" fmla="*/ 115 h 121"/>
                <a:gd name="T42" fmla="*/ 60 w 108"/>
                <a:gd name="T43" fmla="*/ 121 h 121"/>
                <a:gd name="T44" fmla="*/ 60 w 108"/>
                <a:gd name="T45" fmla="*/ 121 h 121"/>
                <a:gd name="T46" fmla="*/ 43 w 108"/>
                <a:gd name="T47" fmla="*/ 111 h 121"/>
                <a:gd name="T48" fmla="*/ 41 w 108"/>
                <a:gd name="T49" fmla="*/ 96 h 121"/>
                <a:gd name="T50" fmla="*/ 33 w 108"/>
                <a:gd name="T51" fmla="*/ 77 h 121"/>
                <a:gd name="T52" fmla="*/ 27 w 108"/>
                <a:gd name="T53" fmla="*/ 63 h 121"/>
                <a:gd name="T54" fmla="*/ 18 w 108"/>
                <a:gd name="T55" fmla="*/ 63 h 121"/>
                <a:gd name="T56" fmla="*/ 14 w 108"/>
                <a:gd name="T57" fmla="*/ 46 h 121"/>
                <a:gd name="T58" fmla="*/ 0 w 108"/>
                <a:gd name="T59" fmla="*/ 38 h 121"/>
                <a:gd name="T60" fmla="*/ 0 w 108"/>
                <a:gd name="T61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8" h="121">
                  <a:moveTo>
                    <a:pt x="0" y="38"/>
                  </a:moveTo>
                  <a:lnTo>
                    <a:pt x="2" y="29"/>
                  </a:lnTo>
                  <a:lnTo>
                    <a:pt x="14" y="25"/>
                  </a:lnTo>
                  <a:lnTo>
                    <a:pt x="14" y="13"/>
                  </a:lnTo>
                  <a:lnTo>
                    <a:pt x="27" y="9"/>
                  </a:lnTo>
                  <a:lnTo>
                    <a:pt x="33" y="17"/>
                  </a:lnTo>
                  <a:lnTo>
                    <a:pt x="39" y="13"/>
                  </a:lnTo>
                  <a:lnTo>
                    <a:pt x="39" y="2"/>
                  </a:lnTo>
                  <a:lnTo>
                    <a:pt x="45" y="0"/>
                  </a:lnTo>
                  <a:lnTo>
                    <a:pt x="60" y="6"/>
                  </a:lnTo>
                  <a:lnTo>
                    <a:pt x="75" y="6"/>
                  </a:lnTo>
                  <a:lnTo>
                    <a:pt x="79" y="11"/>
                  </a:lnTo>
                  <a:lnTo>
                    <a:pt x="81" y="27"/>
                  </a:lnTo>
                  <a:lnTo>
                    <a:pt x="95" y="50"/>
                  </a:lnTo>
                  <a:lnTo>
                    <a:pt x="108" y="59"/>
                  </a:lnTo>
                  <a:lnTo>
                    <a:pt x="108" y="82"/>
                  </a:lnTo>
                  <a:lnTo>
                    <a:pt x="95" y="84"/>
                  </a:lnTo>
                  <a:lnTo>
                    <a:pt x="89" y="96"/>
                  </a:lnTo>
                  <a:lnTo>
                    <a:pt x="79" y="104"/>
                  </a:lnTo>
                  <a:lnTo>
                    <a:pt x="83" y="111"/>
                  </a:lnTo>
                  <a:lnTo>
                    <a:pt x="79" y="115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43" y="111"/>
                  </a:lnTo>
                  <a:lnTo>
                    <a:pt x="41" y="96"/>
                  </a:lnTo>
                  <a:lnTo>
                    <a:pt x="33" y="77"/>
                  </a:lnTo>
                  <a:lnTo>
                    <a:pt x="27" y="63"/>
                  </a:lnTo>
                  <a:lnTo>
                    <a:pt x="18" y="63"/>
                  </a:lnTo>
                  <a:lnTo>
                    <a:pt x="14" y="46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9" name="Freeform 46"/>
            <p:cNvSpPr>
              <a:spLocks noEditPoints="1"/>
            </p:cNvSpPr>
            <p:nvPr/>
          </p:nvSpPr>
          <p:spPr bwMode="auto">
            <a:xfrm>
              <a:off x="1098" y="3316"/>
              <a:ext cx="104" cy="112"/>
            </a:xfrm>
            <a:custGeom>
              <a:avLst/>
              <a:gdLst>
                <a:gd name="T0" fmla="*/ 0 w 104"/>
                <a:gd name="T1" fmla="*/ 23 h 112"/>
                <a:gd name="T2" fmla="*/ 10 w 104"/>
                <a:gd name="T3" fmla="*/ 10 h 112"/>
                <a:gd name="T4" fmla="*/ 23 w 104"/>
                <a:gd name="T5" fmla="*/ 12 h 112"/>
                <a:gd name="T6" fmla="*/ 27 w 104"/>
                <a:gd name="T7" fmla="*/ 4 h 112"/>
                <a:gd name="T8" fmla="*/ 37 w 104"/>
                <a:gd name="T9" fmla="*/ 2 h 112"/>
                <a:gd name="T10" fmla="*/ 54 w 104"/>
                <a:gd name="T11" fmla="*/ 14 h 112"/>
                <a:gd name="T12" fmla="*/ 60 w 104"/>
                <a:gd name="T13" fmla="*/ 14 h 112"/>
                <a:gd name="T14" fmla="*/ 60 w 104"/>
                <a:gd name="T15" fmla="*/ 2 h 112"/>
                <a:gd name="T16" fmla="*/ 68 w 104"/>
                <a:gd name="T17" fmla="*/ 0 h 112"/>
                <a:gd name="T18" fmla="*/ 79 w 104"/>
                <a:gd name="T19" fmla="*/ 10 h 112"/>
                <a:gd name="T20" fmla="*/ 83 w 104"/>
                <a:gd name="T21" fmla="*/ 4 h 112"/>
                <a:gd name="T22" fmla="*/ 91 w 104"/>
                <a:gd name="T23" fmla="*/ 10 h 112"/>
                <a:gd name="T24" fmla="*/ 104 w 104"/>
                <a:gd name="T25" fmla="*/ 14 h 112"/>
                <a:gd name="T26" fmla="*/ 100 w 104"/>
                <a:gd name="T27" fmla="*/ 35 h 112"/>
                <a:gd name="T28" fmla="*/ 100 w 104"/>
                <a:gd name="T29" fmla="*/ 48 h 112"/>
                <a:gd name="T30" fmla="*/ 102 w 104"/>
                <a:gd name="T31" fmla="*/ 62 h 112"/>
                <a:gd name="T32" fmla="*/ 96 w 104"/>
                <a:gd name="T33" fmla="*/ 66 h 112"/>
                <a:gd name="T34" fmla="*/ 96 w 104"/>
                <a:gd name="T35" fmla="*/ 79 h 112"/>
                <a:gd name="T36" fmla="*/ 81 w 104"/>
                <a:gd name="T37" fmla="*/ 89 h 112"/>
                <a:gd name="T38" fmla="*/ 77 w 104"/>
                <a:gd name="T39" fmla="*/ 96 h 112"/>
                <a:gd name="T40" fmla="*/ 75 w 104"/>
                <a:gd name="T41" fmla="*/ 96 h 112"/>
                <a:gd name="T42" fmla="*/ 68 w 104"/>
                <a:gd name="T43" fmla="*/ 100 h 112"/>
                <a:gd name="T44" fmla="*/ 56 w 104"/>
                <a:gd name="T45" fmla="*/ 100 h 112"/>
                <a:gd name="T46" fmla="*/ 52 w 104"/>
                <a:gd name="T47" fmla="*/ 110 h 112"/>
                <a:gd name="T48" fmla="*/ 41 w 104"/>
                <a:gd name="T49" fmla="*/ 110 h 112"/>
                <a:gd name="T50" fmla="*/ 33 w 104"/>
                <a:gd name="T51" fmla="*/ 96 h 112"/>
                <a:gd name="T52" fmla="*/ 18 w 104"/>
                <a:gd name="T53" fmla="*/ 98 h 112"/>
                <a:gd name="T54" fmla="*/ 31 w 104"/>
                <a:gd name="T55" fmla="*/ 96 h 112"/>
                <a:gd name="T56" fmla="*/ 31 w 104"/>
                <a:gd name="T57" fmla="*/ 73 h 112"/>
                <a:gd name="T58" fmla="*/ 18 w 104"/>
                <a:gd name="T59" fmla="*/ 64 h 112"/>
                <a:gd name="T60" fmla="*/ 4 w 104"/>
                <a:gd name="T61" fmla="*/ 41 h 112"/>
                <a:gd name="T62" fmla="*/ 2 w 104"/>
                <a:gd name="T63" fmla="*/ 25 h 112"/>
                <a:gd name="T64" fmla="*/ 0 w 104"/>
                <a:gd name="T65" fmla="*/ 23 h 112"/>
                <a:gd name="T66" fmla="*/ 0 w 104"/>
                <a:gd name="T67" fmla="*/ 23 h 112"/>
                <a:gd name="T68" fmla="*/ 10 w 104"/>
                <a:gd name="T69" fmla="*/ 112 h 112"/>
                <a:gd name="T70" fmla="*/ 10 w 104"/>
                <a:gd name="T71" fmla="*/ 112 h 112"/>
                <a:gd name="T72" fmla="*/ 12 w 104"/>
                <a:gd name="T73" fmla="*/ 110 h 112"/>
                <a:gd name="T74" fmla="*/ 10 w 104"/>
                <a:gd name="T75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4" h="112">
                  <a:moveTo>
                    <a:pt x="0" y="23"/>
                  </a:moveTo>
                  <a:lnTo>
                    <a:pt x="10" y="10"/>
                  </a:lnTo>
                  <a:lnTo>
                    <a:pt x="23" y="12"/>
                  </a:lnTo>
                  <a:lnTo>
                    <a:pt x="27" y="4"/>
                  </a:lnTo>
                  <a:lnTo>
                    <a:pt x="37" y="2"/>
                  </a:lnTo>
                  <a:lnTo>
                    <a:pt x="54" y="14"/>
                  </a:lnTo>
                  <a:lnTo>
                    <a:pt x="60" y="1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9" y="10"/>
                  </a:lnTo>
                  <a:lnTo>
                    <a:pt x="83" y="4"/>
                  </a:lnTo>
                  <a:lnTo>
                    <a:pt x="91" y="10"/>
                  </a:lnTo>
                  <a:lnTo>
                    <a:pt x="104" y="14"/>
                  </a:lnTo>
                  <a:lnTo>
                    <a:pt x="100" y="35"/>
                  </a:lnTo>
                  <a:lnTo>
                    <a:pt x="100" y="48"/>
                  </a:lnTo>
                  <a:lnTo>
                    <a:pt x="102" y="62"/>
                  </a:lnTo>
                  <a:lnTo>
                    <a:pt x="96" y="66"/>
                  </a:lnTo>
                  <a:lnTo>
                    <a:pt x="96" y="79"/>
                  </a:lnTo>
                  <a:lnTo>
                    <a:pt x="81" y="89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68" y="100"/>
                  </a:lnTo>
                  <a:lnTo>
                    <a:pt x="56" y="100"/>
                  </a:lnTo>
                  <a:lnTo>
                    <a:pt x="52" y="110"/>
                  </a:lnTo>
                  <a:lnTo>
                    <a:pt x="41" y="110"/>
                  </a:lnTo>
                  <a:lnTo>
                    <a:pt x="33" y="96"/>
                  </a:lnTo>
                  <a:lnTo>
                    <a:pt x="18" y="98"/>
                  </a:lnTo>
                  <a:lnTo>
                    <a:pt x="31" y="96"/>
                  </a:lnTo>
                  <a:lnTo>
                    <a:pt x="31" y="73"/>
                  </a:lnTo>
                  <a:lnTo>
                    <a:pt x="18" y="64"/>
                  </a:lnTo>
                  <a:lnTo>
                    <a:pt x="4" y="41"/>
                  </a:lnTo>
                  <a:lnTo>
                    <a:pt x="2" y="25"/>
                  </a:lnTo>
                  <a:lnTo>
                    <a:pt x="0" y="23"/>
                  </a:lnTo>
                  <a:lnTo>
                    <a:pt x="0" y="23"/>
                  </a:lnTo>
                  <a:close/>
                  <a:moveTo>
                    <a:pt x="10" y="112"/>
                  </a:moveTo>
                  <a:lnTo>
                    <a:pt x="10" y="112"/>
                  </a:lnTo>
                  <a:lnTo>
                    <a:pt x="12" y="110"/>
                  </a:lnTo>
                  <a:lnTo>
                    <a:pt x="10" y="112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0" name="Freeform 47"/>
            <p:cNvSpPr>
              <a:spLocks/>
            </p:cNvSpPr>
            <p:nvPr/>
          </p:nvSpPr>
          <p:spPr bwMode="auto">
            <a:xfrm>
              <a:off x="1054" y="3243"/>
              <a:ext cx="142" cy="96"/>
            </a:xfrm>
            <a:custGeom>
              <a:avLst/>
              <a:gdLst>
                <a:gd name="T0" fmla="*/ 0 w 142"/>
                <a:gd name="T1" fmla="*/ 14 h 96"/>
                <a:gd name="T2" fmla="*/ 4 w 142"/>
                <a:gd name="T3" fmla="*/ 10 h 96"/>
                <a:gd name="T4" fmla="*/ 12 w 142"/>
                <a:gd name="T5" fmla="*/ 8 h 96"/>
                <a:gd name="T6" fmla="*/ 19 w 142"/>
                <a:gd name="T7" fmla="*/ 0 h 96"/>
                <a:gd name="T8" fmla="*/ 31 w 142"/>
                <a:gd name="T9" fmla="*/ 0 h 96"/>
                <a:gd name="T10" fmla="*/ 40 w 142"/>
                <a:gd name="T11" fmla="*/ 16 h 96"/>
                <a:gd name="T12" fmla="*/ 50 w 142"/>
                <a:gd name="T13" fmla="*/ 12 h 96"/>
                <a:gd name="T14" fmla="*/ 65 w 142"/>
                <a:gd name="T15" fmla="*/ 25 h 96"/>
                <a:gd name="T16" fmla="*/ 81 w 142"/>
                <a:gd name="T17" fmla="*/ 14 h 96"/>
                <a:gd name="T18" fmla="*/ 104 w 142"/>
                <a:gd name="T19" fmla="*/ 16 h 96"/>
                <a:gd name="T20" fmla="*/ 121 w 142"/>
                <a:gd name="T21" fmla="*/ 33 h 96"/>
                <a:gd name="T22" fmla="*/ 133 w 142"/>
                <a:gd name="T23" fmla="*/ 35 h 96"/>
                <a:gd name="T24" fmla="*/ 142 w 142"/>
                <a:gd name="T25" fmla="*/ 50 h 96"/>
                <a:gd name="T26" fmla="*/ 131 w 142"/>
                <a:gd name="T27" fmla="*/ 62 h 96"/>
                <a:gd name="T28" fmla="*/ 131 w 142"/>
                <a:gd name="T29" fmla="*/ 81 h 96"/>
                <a:gd name="T30" fmla="*/ 127 w 142"/>
                <a:gd name="T31" fmla="*/ 77 h 96"/>
                <a:gd name="T32" fmla="*/ 123 w 142"/>
                <a:gd name="T33" fmla="*/ 83 h 96"/>
                <a:gd name="T34" fmla="*/ 112 w 142"/>
                <a:gd name="T35" fmla="*/ 73 h 96"/>
                <a:gd name="T36" fmla="*/ 104 w 142"/>
                <a:gd name="T37" fmla="*/ 75 h 96"/>
                <a:gd name="T38" fmla="*/ 104 w 142"/>
                <a:gd name="T39" fmla="*/ 87 h 96"/>
                <a:gd name="T40" fmla="*/ 98 w 142"/>
                <a:gd name="T41" fmla="*/ 87 h 96"/>
                <a:gd name="T42" fmla="*/ 81 w 142"/>
                <a:gd name="T43" fmla="*/ 75 h 96"/>
                <a:gd name="T44" fmla="*/ 71 w 142"/>
                <a:gd name="T45" fmla="*/ 77 h 96"/>
                <a:gd name="T46" fmla="*/ 67 w 142"/>
                <a:gd name="T47" fmla="*/ 85 h 96"/>
                <a:gd name="T48" fmla="*/ 54 w 142"/>
                <a:gd name="T49" fmla="*/ 83 h 96"/>
                <a:gd name="T50" fmla="*/ 44 w 142"/>
                <a:gd name="T51" fmla="*/ 96 h 96"/>
                <a:gd name="T52" fmla="*/ 42 w 142"/>
                <a:gd name="T53" fmla="*/ 93 h 96"/>
                <a:gd name="T54" fmla="*/ 27 w 142"/>
                <a:gd name="T55" fmla="*/ 93 h 96"/>
                <a:gd name="T56" fmla="*/ 12 w 142"/>
                <a:gd name="T57" fmla="*/ 87 h 96"/>
                <a:gd name="T58" fmla="*/ 12 w 142"/>
                <a:gd name="T59" fmla="*/ 79 h 96"/>
                <a:gd name="T60" fmla="*/ 2 w 142"/>
                <a:gd name="T61" fmla="*/ 68 h 96"/>
                <a:gd name="T62" fmla="*/ 0 w 142"/>
                <a:gd name="T63" fmla="*/ 60 h 96"/>
                <a:gd name="T64" fmla="*/ 8 w 142"/>
                <a:gd name="T65" fmla="*/ 54 h 96"/>
                <a:gd name="T66" fmla="*/ 8 w 142"/>
                <a:gd name="T67" fmla="*/ 41 h 96"/>
                <a:gd name="T68" fmla="*/ 6 w 142"/>
                <a:gd name="T69" fmla="*/ 31 h 96"/>
                <a:gd name="T70" fmla="*/ 4 w 142"/>
                <a:gd name="T71" fmla="*/ 14 h 96"/>
                <a:gd name="T72" fmla="*/ 0 w 142"/>
                <a:gd name="T73" fmla="*/ 1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2" h="96">
                  <a:moveTo>
                    <a:pt x="0" y="14"/>
                  </a:moveTo>
                  <a:lnTo>
                    <a:pt x="4" y="10"/>
                  </a:lnTo>
                  <a:lnTo>
                    <a:pt x="12" y="8"/>
                  </a:lnTo>
                  <a:lnTo>
                    <a:pt x="19" y="0"/>
                  </a:lnTo>
                  <a:lnTo>
                    <a:pt x="31" y="0"/>
                  </a:lnTo>
                  <a:lnTo>
                    <a:pt x="40" y="16"/>
                  </a:lnTo>
                  <a:lnTo>
                    <a:pt x="50" y="12"/>
                  </a:lnTo>
                  <a:lnTo>
                    <a:pt x="65" y="25"/>
                  </a:lnTo>
                  <a:lnTo>
                    <a:pt x="81" y="14"/>
                  </a:lnTo>
                  <a:lnTo>
                    <a:pt x="104" y="16"/>
                  </a:lnTo>
                  <a:lnTo>
                    <a:pt x="121" y="33"/>
                  </a:lnTo>
                  <a:lnTo>
                    <a:pt x="133" y="35"/>
                  </a:lnTo>
                  <a:lnTo>
                    <a:pt x="142" y="50"/>
                  </a:lnTo>
                  <a:lnTo>
                    <a:pt x="131" y="62"/>
                  </a:lnTo>
                  <a:lnTo>
                    <a:pt x="131" y="81"/>
                  </a:lnTo>
                  <a:lnTo>
                    <a:pt x="127" y="77"/>
                  </a:lnTo>
                  <a:lnTo>
                    <a:pt x="123" y="83"/>
                  </a:lnTo>
                  <a:lnTo>
                    <a:pt x="112" y="73"/>
                  </a:lnTo>
                  <a:lnTo>
                    <a:pt x="104" y="75"/>
                  </a:lnTo>
                  <a:lnTo>
                    <a:pt x="104" y="87"/>
                  </a:lnTo>
                  <a:lnTo>
                    <a:pt x="98" y="87"/>
                  </a:lnTo>
                  <a:lnTo>
                    <a:pt x="81" y="75"/>
                  </a:lnTo>
                  <a:lnTo>
                    <a:pt x="71" y="77"/>
                  </a:lnTo>
                  <a:lnTo>
                    <a:pt x="67" y="85"/>
                  </a:lnTo>
                  <a:lnTo>
                    <a:pt x="54" y="83"/>
                  </a:lnTo>
                  <a:lnTo>
                    <a:pt x="44" y="96"/>
                  </a:lnTo>
                  <a:lnTo>
                    <a:pt x="42" y="93"/>
                  </a:lnTo>
                  <a:lnTo>
                    <a:pt x="27" y="93"/>
                  </a:lnTo>
                  <a:lnTo>
                    <a:pt x="12" y="87"/>
                  </a:lnTo>
                  <a:lnTo>
                    <a:pt x="12" y="79"/>
                  </a:lnTo>
                  <a:lnTo>
                    <a:pt x="2" y="68"/>
                  </a:lnTo>
                  <a:lnTo>
                    <a:pt x="0" y="60"/>
                  </a:lnTo>
                  <a:lnTo>
                    <a:pt x="8" y="54"/>
                  </a:lnTo>
                  <a:lnTo>
                    <a:pt x="8" y="41"/>
                  </a:lnTo>
                  <a:lnTo>
                    <a:pt x="6" y="31"/>
                  </a:lnTo>
                  <a:lnTo>
                    <a:pt x="4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1" name="Freeform 48"/>
            <p:cNvSpPr>
              <a:spLocks noEditPoints="1"/>
            </p:cNvSpPr>
            <p:nvPr/>
          </p:nvSpPr>
          <p:spPr bwMode="auto">
            <a:xfrm>
              <a:off x="1152" y="3205"/>
              <a:ext cx="137" cy="173"/>
            </a:xfrm>
            <a:custGeom>
              <a:avLst/>
              <a:gdLst>
                <a:gd name="T0" fmla="*/ 31 w 137"/>
                <a:gd name="T1" fmla="*/ 11 h 173"/>
                <a:gd name="T2" fmla="*/ 44 w 137"/>
                <a:gd name="T3" fmla="*/ 11 h 173"/>
                <a:gd name="T4" fmla="*/ 56 w 137"/>
                <a:gd name="T5" fmla="*/ 0 h 173"/>
                <a:gd name="T6" fmla="*/ 64 w 137"/>
                <a:gd name="T7" fmla="*/ 17 h 173"/>
                <a:gd name="T8" fmla="*/ 77 w 137"/>
                <a:gd name="T9" fmla="*/ 19 h 173"/>
                <a:gd name="T10" fmla="*/ 94 w 137"/>
                <a:gd name="T11" fmla="*/ 27 h 173"/>
                <a:gd name="T12" fmla="*/ 102 w 137"/>
                <a:gd name="T13" fmla="*/ 27 h 173"/>
                <a:gd name="T14" fmla="*/ 121 w 137"/>
                <a:gd name="T15" fmla="*/ 36 h 173"/>
                <a:gd name="T16" fmla="*/ 137 w 137"/>
                <a:gd name="T17" fmla="*/ 40 h 173"/>
                <a:gd name="T18" fmla="*/ 133 w 137"/>
                <a:gd name="T19" fmla="*/ 54 h 173"/>
                <a:gd name="T20" fmla="*/ 125 w 137"/>
                <a:gd name="T21" fmla="*/ 69 h 173"/>
                <a:gd name="T22" fmla="*/ 121 w 137"/>
                <a:gd name="T23" fmla="*/ 77 h 173"/>
                <a:gd name="T24" fmla="*/ 119 w 137"/>
                <a:gd name="T25" fmla="*/ 86 h 173"/>
                <a:gd name="T26" fmla="*/ 110 w 137"/>
                <a:gd name="T27" fmla="*/ 92 h 173"/>
                <a:gd name="T28" fmla="*/ 114 w 137"/>
                <a:gd name="T29" fmla="*/ 102 h 173"/>
                <a:gd name="T30" fmla="*/ 123 w 137"/>
                <a:gd name="T31" fmla="*/ 100 h 173"/>
                <a:gd name="T32" fmla="*/ 123 w 137"/>
                <a:gd name="T33" fmla="*/ 117 h 173"/>
                <a:gd name="T34" fmla="*/ 137 w 137"/>
                <a:gd name="T35" fmla="*/ 123 h 173"/>
                <a:gd name="T36" fmla="*/ 137 w 137"/>
                <a:gd name="T37" fmla="*/ 134 h 173"/>
                <a:gd name="T38" fmla="*/ 131 w 137"/>
                <a:gd name="T39" fmla="*/ 146 h 173"/>
                <a:gd name="T40" fmla="*/ 129 w 137"/>
                <a:gd name="T41" fmla="*/ 159 h 173"/>
                <a:gd name="T42" fmla="*/ 114 w 137"/>
                <a:gd name="T43" fmla="*/ 159 h 173"/>
                <a:gd name="T44" fmla="*/ 102 w 137"/>
                <a:gd name="T45" fmla="*/ 165 h 173"/>
                <a:gd name="T46" fmla="*/ 87 w 137"/>
                <a:gd name="T47" fmla="*/ 159 h 173"/>
                <a:gd name="T48" fmla="*/ 73 w 137"/>
                <a:gd name="T49" fmla="*/ 165 h 173"/>
                <a:gd name="T50" fmla="*/ 69 w 137"/>
                <a:gd name="T51" fmla="*/ 161 h 173"/>
                <a:gd name="T52" fmla="*/ 60 w 137"/>
                <a:gd name="T53" fmla="*/ 161 h 173"/>
                <a:gd name="T54" fmla="*/ 56 w 137"/>
                <a:gd name="T55" fmla="*/ 169 h 173"/>
                <a:gd name="T56" fmla="*/ 48 w 137"/>
                <a:gd name="T57" fmla="*/ 173 h 173"/>
                <a:gd name="T58" fmla="*/ 46 w 137"/>
                <a:gd name="T59" fmla="*/ 159 h 173"/>
                <a:gd name="T60" fmla="*/ 46 w 137"/>
                <a:gd name="T61" fmla="*/ 146 h 173"/>
                <a:gd name="T62" fmla="*/ 50 w 137"/>
                <a:gd name="T63" fmla="*/ 125 h 173"/>
                <a:gd name="T64" fmla="*/ 37 w 137"/>
                <a:gd name="T65" fmla="*/ 121 h 173"/>
                <a:gd name="T66" fmla="*/ 33 w 137"/>
                <a:gd name="T67" fmla="*/ 119 h 173"/>
                <a:gd name="T68" fmla="*/ 33 w 137"/>
                <a:gd name="T69" fmla="*/ 100 h 173"/>
                <a:gd name="T70" fmla="*/ 44 w 137"/>
                <a:gd name="T71" fmla="*/ 88 h 173"/>
                <a:gd name="T72" fmla="*/ 35 w 137"/>
                <a:gd name="T73" fmla="*/ 73 h 173"/>
                <a:gd name="T74" fmla="*/ 23 w 137"/>
                <a:gd name="T75" fmla="*/ 71 h 173"/>
                <a:gd name="T76" fmla="*/ 6 w 137"/>
                <a:gd name="T77" fmla="*/ 54 h 173"/>
                <a:gd name="T78" fmla="*/ 0 w 137"/>
                <a:gd name="T79" fmla="*/ 54 h 173"/>
                <a:gd name="T80" fmla="*/ 14 w 137"/>
                <a:gd name="T81" fmla="*/ 34 h 173"/>
                <a:gd name="T82" fmla="*/ 29 w 137"/>
                <a:gd name="T83" fmla="*/ 29 h 173"/>
                <a:gd name="T84" fmla="*/ 31 w 137"/>
                <a:gd name="T85" fmla="*/ 13 h 173"/>
                <a:gd name="T86" fmla="*/ 31 w 137"/>
                <a:gd name="T87" fmla="*/ 11 h 173"/>
                <a:gd name="T88" fmla="*/ 31 w 137"/>
                <a:gd name="T89" fmla="*/ 11 h 173"/>
                <a:gd name="T90" fmla="*/ 60 w 137"/>
                <a:gd name="T91" fmla="*/ 73 h 173"/>
                <a:gd name="T92" fmla="*/ 62 w 137"/>
                <a:gd name="T93" fmla="*/ 81 h 173"/>
                <a:gd name="T94" fmla="*/ 60 w 137"/>
                <a:gd name="T95" fmla="*/ 88 h 173"/>
                <a:gd name="T96" fmla="*/ 58 w 137"/>
                <a:gd name="T97" fmla="*/ 98 h 173"/>
                <a:gd name="T98" fmla="*/ 69 w 137"/>
                <a:gd name="T99" fmla="*/ 98 h 173"/>
                <a:gd name="T100" fmla="*/ 75 w 137"/>
                <a:gd name="T101" fmla="*/ 92 h 173"/>
                <a:gd name="T102" fmla="*/ 81 w 137"/>
                <a:gd name="T103" fmla="*/ 98 h 173"/>
                <a:gd name="T104" fmla="*/ 89 w 137"/>
                <a:gd name="T105" fmla="*/ 98 h 173"/>
                <a:gd name="T106" fmla="*/ 89 w 137"/>
                <a:gd name="T107" fmla="*/ 86 h 173"/>
                <a:gd name="T108" fmla="*/ 98 w 137"/>
                <a:gd name="T109" fmla="*/ 77 h 173"/>
                <a:gd name="T110" fmla="*/ 87 w 137"/>
                <a:gd name="T111" fmla="*/ 69 h 173"/>
                <a:gd name="T112" fmla="*/ 85 w 137"/>
                <a:gd name="T113" fmla="*/ 56 h 173"/>
                <a:gd name="T114" fmla="*/ 73 w 137"/>
                <a:gd name="T115" fmla="*/ 61 h 173"/>
                <a:gd name="T116" fmla="*/ 73 w 137"/>
                <a:gd name="T117" fmla="*/ 73 h 173"/>
                <a:gd name="T118" fmla="*/ 60 w 137"/>
                <a:gd name="T119" fmla="*/ 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7" h="173">
                  <a:moveTo>
                    <a:pt x="31" y="11"/>
                  </a:moveTo>
                  <a:lnTo>
                    <a:pt x="44" y="11"/>
                  </a:lnTo>
                  <a:lnTo>
                    <a:pt x="56" y="0"/>
                  </a:lnTo>
                  <a:lnTo>
                    <a:pt x="64" y="17"/>
                  </a:lnTo>
                  <a:lnTo>
                    <a:pt x="77" y="19"/>
                  </a:lnTo>
                  <a:lnTo>
                    <a:pt x="94" y="27"/>
                  </a:lnTo>
                  <a:lnTo>
                    <a:pt x="102" y="27"/>
                  </a:lnTo>
                  <a:lnTo>
                    <a:pt x="121" y="36"/>
                  </a:lnTo>
                  <a:lnTo>
                    <a:pt x="137" y="40"/>
                  </a:lnTo>
                  <a:lnTo>
                    <a:pt x="133" y="54"/>
                  </a:lnTo>
                  <a:lnTo>
                    <a:pt x="125" y="69"/>
                  </a:lnTo>
                  <a:lnTo>
                    <a:pt x="121" y="77"/>
                  </a:lnTo>
                  <a:lnTo>
                    <a:pt x="119" y="86"/>
                  </a:lnTo>
                  <a:lnTo>
                    <a:pt x="110" y="92"/>
                  </a:lnTo>
                  <a:lnTo>
                    <a:pt x="114" y="102"/>
                  </a:lnTo>
                  <a:lnTo>
                    <a:pt x="123" y="100"/>
                  </a:lnTo>
                  <a:lnTo>
                    <a:pt x="123" y="117"/>
                  </a:lnTo>
                  <a:lnTo>
                    <a:pt x="137" y="123"/>
                  </a:lnTo>
                  <a:lnTo>
                    <a:pt x="137" y="134"/>
                  </a:lnTo>
                  <a:lnTo>
                    <a:pt x="131" y="146"/>
                  </a:lnTo>
                  <a:lnTo>
                    <a:pt x="129" y="159"/>
                  </a:lnTo>
                  <a:lnTo>
                    <a:pt x="114" y="159"/>
                  </a:lnTo>
                  <a:lnTo>
                    <a:pt x="102" y="165"/>
                  </a:lnTo>
                  <a:lnTo>
                    <a:pt x="87" y="159"/>
                  </a:lnTo>
                  <a:lnTo>
                    <a:pt x="73" y="165"/>
                  </a:lnTo>
                  <a:lnTo>
                    <a:pt x="69" y="161"/>
                  </a:lnTo>
                  <a:lnTo>
                    <a:pt x="60" y="161"/>
                  </a:lnTo>
                  <a:lnTo>
                    <a:pt x="56" y="169"/>
                  </a:lnTo>
                  <a:lnTo>
                    <a:pt x="48" y="173"/>
                  </a:lnTo>
                  <a:lnTo>
                    <a:pt x="46" y="159"/>
                  </a:lnTo>
                  <a:lnTo>
                    <a:pt x="46" y="146"/>
                  </a:lnTo>
                  <a:lnTo>
                    <a:pt x="50" y="125"/>
                  </a:lnTo>
                  <a:lnTo>
                    <a:pt x="37" y="121"/>
                  </a:lnTo>
                  <a:lnTo>
                    <a:pt x="33" y="119"/>
                  </a:lnTo>
                  <a:lnTo>
                    <a:pt x="33" y="100"/>
                  </a:lnTo>
                  <a:lnTo>
                    <a:pt x="44" y="88"/>
                  </a:lnTo>
                  <a:lnTo>
                    <a:pt x="35" y="73"/>
                  </a:lnTo>
                  <a:lnTo>
                    <a:pt x="23" y="71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14" y="34"/>
                  </a:lnTo>
                  <a:lnTo>
                    <a:pt x="29" y="29"/>
                  </a:lnTo>
                  <a:lnTo>
                    <a:pt x="31" y="13"/>
                  </a:lnTo>
                  <a:lnTo>
                    <a:pt x="31" y="11"/>
                  </a:lnTo>
                  <a:lnTo>
                    <a:pt x="31" y="11"/>
                  </a:lnTo>
                  <a:close/>
                  <a:moveTo>
                    <a:pt x="60" y="73"/>
                  </a:moveTo>
                  <a:lnTo>
                    <a:pt x="62" y="81"/>
                  </a:lnTo>
                  <a:lnTo>
                    <a:pt x="60" y="88"/>
                  </a:lnTo>
                  <a:lnTo>
                    <a:pt x="58" y="98"/>
                  </a:lnTo>
                  <a:lnTo>
                    <a:pt x="69" y="98"/>
                  </a:lnTo>
                  <a:lnTo>
                    <a:pt x="75" y="92"/>
                  </a:lnTo>
                  <a:lnTo>
                    <a:pt x="81" y="98"/>
                  </a:lnTo>
                  <a:lnTo>
                    <a:pt x="89" y="98"/>
                  </a:lnTo>
                  <a:lnTo>
                    <a:pt x="89" y="86"/>
                  </a:lnTo>
                  <a:lnTo>
                    <a:pt x="98" y="77"/>
                  </a:lnTo>
                  <a:lnTo>
                    <a:pt x="87" y="69"/>
                  </a:lnTo>
                  <a:lnTo>
                    <a:pt x="85" y="56"/>
                  </a:lnTo>
                  <a:lnTo>
                    <a:pt x="73" y="61"/>
                  </a:lnTo>
                  <a:lnTo>
                    <a:pt x="73" y="73"/>
                  </a:lnTo>
                  <a:lnTo>
                    <a:pt x="60" y="7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2" name="Freeform 49"/>
            <p:cNvSpPr>
              <a:spLocks/>
            </p:cNvSpPr>
            <p:nvPr/>
          </p:nvSpPr>
          <p:spPr bwMode="auto">
            <a:xfrm>
              <a:off x="1210" y="3261"/>
              <a:ext cx="40" cy="42"/>
            </a:xfrm>
            <a:custGeom>
              <a:avLst/>
              <a:gdLst>
                <a:gd name="T0" fmla="*/ 2 w 40"/>
                <a:gd name="T1" fmla="*/ 17 h 42"/>
                <a:gd name="T2" fmla="*/ 15 w 40"/>
                <a:gd name="T3" fmla="*/ 17 h 42"/>
                <a:gd name="T4" fmla="*/ 15 w 40"/>
                <a:gd name="T5" fmla="*/ 5 h 42"/>
                <a:gd name="T6" fmla="*/ 27 w 40"/>
                <a:gd name="T7" fmla="*/ 0 h 42"/>
                <a:gd name="T8" fmla="*/ 29 w 40"/>
                <a:gd name="T9" fmla="*/ 13 h 42"/>
                <a:gd name="T10" fmla="*/ 40 w 40"/>
                <a:gd name="T11" fmla="*/ 21 h 42"/>
                <a:gd name="T12" fmla="*/ 31 w 40"/>
                <a:gd name="T13" fmla="*/ 30 h 42"/>
                <a:gd name="T14" fmla="*/ 31 w 40"/>
                <a:gd name="T15" fmla="*/ 42 h 42"/>
                <a:gd name="T16" fmla="*/ 23 w 40"/>
                <a:gd name="T17" fmla="*/ 42 h 42"/>
                <a:gd name="T18" fmla="*/ 17 w 40"/>
                <a:gd name="T19" fmla="*/ 36 h 42"/>
                <a:gd name="T20" fmla="*/ 11 w 40"/>
                <a:gd name="T21" fmla="*/ 42 h 42"/>
                <a:gd name="T22" fmla="*/ 0 w 40"/>
                <a:gd name="T23" fmla="*/ 42 h 42"/>
                <a:gd name="T24" fmla="*/ 2 w 40"/>
                <a:gd name="T25" fmla="*/ 32 h 42"/>
                <a:gd name="T26" fmla="*/ 4 w 40"/>
                <a:gd name="T27" fmla="*/ 25 h 42"/>
                <a:gd name="T28" fmla="*/ 2 w 40"/>
                <a:gd name="T29" fmla="*/ 1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42">
                  <a:moveTo>
                    <a:pt x="2" y="17"/>
                  </a:moveTo>
                  <a:lnTo>
                    <a:pt x="15" y="17"/>
                  </a:lnTo>
                  <a:lnTo>
                    <a:pt x="15" y="5"/>
                  </a:lnTo>
                  <a:lnTo>
                    <a:pt x="27" y="0"/>
                  </a:lnTo>
                  <a:lnTo>
                    <a:pt x="29" y="13"/>
                  </a:lnTo>
                  <a:lnTo>
                    <a:pt x="40" y="21"/>
                  </a:lnTo>
                  <a:lnTo>
                    <a:pt x="31" y="30"/>
                  </a:lnTo>
                  <a:lnTo>
                    <a:pt x="31" y="42"/>
                  </a:lnTo>
                  <a:lnTo>
                    <a:pt x="23" y="42"/>
                  </a:lnTo>
                  <a:lnTo>
                    <a:pt x="17" y="36"/>
                  </a:lnTo>
                  <a:lnTo>
                    <a:pt x="11" y="42"/>
                  </a:lnTo>
                  <a:lnTo>
                    <a:pt x="0" y="42"/>
                  </a:lnTo>
                  <a:lnTo>
                    <a:pt x="2" y="32"/>
                  </a:lnTo>
                  <a:lnTo>
                    <a:pt x="4" y="25"/>
                  </a:lnTo>
                  <a:lnTo>
                    <a:pt x="2" y="1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3" name="Freeform 50"/>
            <p:cNvSpPr>
              <a:spLocks/>
            </p:cNvSpPr>
            <p:nvPr/>
          </p:nvSpPr>
          <p:spPr bwMode="auto">
            <a:xfrm>
              <a:off x="2044" y="3574"/>
              <a:ext cx="354" cy="290"/>
            </a:xfrm>
            <a:custGeom>
              <a:avLst/>
              <a:gdLst>
                <a:gd name="T0" fmla="*/ 159 w 170"/>
                <a:gd name="T1" fmla="*/ 70 h 139"/>
                <a:gd name="T2" fmla="*/ 139 w 170"/>
                <a:gd name="T3" fmla="*/ 65 h 139"/>
                <a:gd name="T4" fmla="*/ 132 w 170"/>
                <a:gd name="T5" fmla="*/ 70 h 139"/>
                <a:gd name="T6" fmla="*/ 117 w 170"/>
                <a:gd name="T7" fmla="*/ 63 h 139"/>
                <a:gd name="T8" fmla="*/ 110 w 170"/>
                <a:gd name="T9" fmla="*/ 58 h 139"/>
                <a:gd name="T10" fmla="*/ 106 w 170"/>
                <a:gd name="T11" fmla="*/ 50 h 139"/>
                <a:gd name="T12" fmla="*/ 97 w 170"/>
                <a:gd name="T13" fmla="*/ 67 h 139"/>
                <a:gd name="T14" fmla="*/ 94 w 170"/>
                <a:gd name="T15" fmla="*/ 77 h 139"/>
                <a:gd name="T16" fmla="*/ 101 w 170"/>
                <a:gd name="T17" fmla="*/ 84 h 139"/>
                <a:gd name="T18" fmla="*/ 109 w 170"/>
                <a:gd name="T19" fmla="*/ 95 h 139"/>
                <a:gd name="T20" fmla="*/ 102 w 170"/>
                <a:gd name="T21" fmla="*/ 100 h 139"/>
                <a:gd name="T22" fmla="*/ 90 w 170"/>
                <a:gd name="T23" fmla="*/ 107 h 139"/>
                <a:gd name="T24" fmla="*/ 88 w 170"/>
                <a:gd name="T25" fmla="*/ 119 h 139"/>
                <a:gd name="T26" fmla="*/ 81 w 170"/>
                <a:gd name="T27" fmla="*/ 128 h 139"/>
                <a:gd name="T28" fmla="*/ 77 w 170"/>
                <a:gd name="T29" fmla="*/ 136 h 139"/>
                <a:gd name="T30" fmla="*/ 66 w 170"/>
                <a:gd name="T31" fmla="*/ 133 h 139"/>
                <a:gd name="T32" fmla="*/ 44 w 170"/>
                <a:gd name="T33" fmla="*/ 127 h 139"/>
                <a:gd name="T34" fmla="*/ 32 w 170"/>
                <a:gd name="T35" fmla="*/ 112 h 139"/>
                <a:gd name="T36" fmla="*/ 26 w 170"/>
                <a:gd name="T37" fmla="*/ 98 h 139"/>
                <a:gd name="T38" fmla="*/ 10 w 170"/>
                <a:gd name="T39" fmla="*/ 93 h 139"/>
                <a:gd name="T40" fmla="*/ 0 w 170"/>
                <a:gd name="T41" fmla="*/ 75 h 139"/>
                <a:gd name="T42" fmla="*/ 7 w 170"/>
                <a:gd name="T43" fmla="*/ 59 h 139"/>
                <a:gd name="T44" fmla="*/ 9 w 170"/>
                <a:gd name="T45" fmla="*/ 47 h 139"/>
                <a:gd name="T46" fmla="*/ 20 w 170"/>
                <a:gd name="T47" fmla="*/ 44 h 139"/>
                <a:gd name="T48" fmla="*/ 28 w 170"/>
                <a:gd name="T49" fmla="*/ 43 h 139"/>
                <a:gd name="T50" fmla="*/ 33 w 170"/>
                <a:gd name="T51" fmla="*/ 33 h 139"/>
                <a:gd name="T52" fmla="*/ 41 w 170"/>
                <a:gd name="T53" fmla="*/ 24 h 139"/>
                <a:gd name="T54" fmla="*/ 54 w 170"/>
                <a:gd name="T55" fmla="*/ 17 h 139"/>
                <a:gd name="T56" fmla="*/ 64 w 170"/>
                <a:gd name="T57" fmla="*/ 19 h 139"/>
                <a:gd name="T58" fmla="*/ 80 w 170"/>
                <a:gd name="T59" fmla="*/ 15 h 139"/>
                <a:gd name="T60" fmla="*/ 95 w 170"/>
                <a:gd name="T61" fmla="*/ 8 h 139"/>
                <a:gd name="T62" fmla="*/ 101 w 170"/>
                <a:gd name="T63" fmla="*/ 1 h 139"/>
                <a:gd name="T64" fmla="*/ 121 w 170"/>
                <a:gd name="T65" fmla="*/ 11 h 139"/>
                <a:gd name="T66" fmla="*/ 137 w 170"/>
                <a:gd name="T67" fmla="*/ 32 h 139"/>
                <a:gd name="T68" fmla="*/ 145 w 170"/>
                <a:gd name="T69" fmla="*/ 39 h 139"/>
                <a:gd name="T70" fmla="*/ 156 w 170"/>
                <a:gd name="T71" fmla="*/ 52 h 139"/>
                <a:gd name="T72" fmla="*/ 170 w 170"/>
                <a:gd name="T73" fmla="*/ 5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39">
                  <a:moveTo>
                    <a:pt x="170" y="61"/>
                  </a:moveTo>
                  <a:cubicBezTo>
                    <a:pt x="159" y="70"/>
                    <a:pt x="159" y="70"/>
                    <a:pt x="159" y="70"/>
                  </a:cubicBezTo>
                  <a:cubicBezTo>
                    <a:pt x="145" y="69"/>
                    <a:pt x="145" y="69"/>
                    <a:pt x="145" y="69"/>
                  </a:cubicBezTo>
                  <a:cubicBezTo>
                    <a:pt x="139" y="65"/>
                    <a:pt x="139" y="65"/>
                    <a:pt x="139" y="65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17" y="63"/>
                    <a:pt x="117" y="63"/>
                    <a:pt x="117" y="63"/>
                  </a:cubicBezTo>
                  <a:cubicBezTo>
                    <a:pt x="111" y="62"/>
                    <a:pt x="111" y="62"/>
                    <a:pt x="111" y="62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4" y="53"/>
                    <a:pt x="114" y="53"/>
                    <a:pt x="114" y="53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3" y="79"/>
                    <a:pt x="93" y="79"/>
                    <a:pt x="93" y="79"/>
                  </a:cubicBezTo>
                  <a:cubicBezTo>
                    <a:pt x="101" y="84"/>
                    <a:pt x="101" y="84"/>
                    <a:pt x="101" y="84"/>
                  </a:cubicBezTo>
                  <a:cubicBezTo>
                    <a:pt x="104" y="89"/>
                    <a:pt x="104" y="89"/>
                    <a:pt x="104" y="89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98" y="101"/>
                    <a:pt x="98" y="101"/>
                    <a:pt x="98" y="101"/>
                  </a:cubicBezTo>
                  <a:cubicBezTo>
                    <a:pt x="90" y="107"/>
                    <a:pt x="90" y="107"/>
                    <a:pt x="90" y="107"/>
                  </a:cubicBezTo>
                  <a:cubicBezTo>
                    <a:pt x="90" y="116"/>
                    <a:pt x="90" y="116"/>
                    <a:pt x="90" y="116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82" y="122"/>
                    <a:pt x="82" y="122"/>
                    <a:pt x="82" y="122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77" y="131"/>
                    <a:pt x="77" y="131"/>
                    <a:pt x="77" y="131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5" y="136"/>
                    <a:pt x="74" y="136"/>
                    <a:pt x="72" y="137"/>
                  </a:cubicBezTo>
                  <a:cubicBezTo>
                    <a:pt x="69" y="139"/>
                    <a:pt x="67" y="136"/>
                    <a:pt x="66" y="133"/>
                  </a:cubicBezTo>
                  <a:cubicBezTo>
                    <a:pt x="65" y="131"/>
                    <a:pt x="58" y="124"/>
                    <a:pt x="52" y="124"/>
                  </a:cubicBezTo>
                  <a:cubicBezTo>
                    <a:pt x="48" y="124"/>
                    <a:pt x="47" y="127"/>
                    <a:pt x="44" y="127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32" y="112"/>
                    <a:pt x="32" y="112"/>
                    <a:pt x="32" y="112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26" y="98"/>
                    <a:pt x="26" y="98"/>
                    <a:pt x="26" y="98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01" y="1"/>
                    <a:pt x="101" y="1"/>
                    <a:pt x="101" y="1"/>
                  </a:cubicBezTo>
                  <a:cubicBezTo>
                    <a:pt x="110" y="9"/>
                    <a:pt x="110" y="9"/>
                    <a:pt x="110" y="9"/>
                  </a:cubicBezTo>
                  <a:cubicBezTo>
                    <a:pt x="121" y="11"/>
                    <a:pt x="121" y="11"/>
                    <a:pt x="121" y="11"/>
                  </a:cubicBezTo>
                  <a:cubicBezTo>
                    <a:pt x="133" y="22"/>
                    <a:pt x="133" y="22"/>
                    <a:pt x="133" y="2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7" y="39"/>
                    <a:pt x="137" y="39"/>
                    <a:pt x="137" y="39"/>
                  </a:cubicBezTo>
                  <a:cubicBezTo>
                    <a:pt x="145" y="39"/>
                    <a:pt x="145" y="39"/>
                    <a:pt x="145" y="39"/>
                  </a:cubicBezTo>
                  <a:cubicBezTo>
                    <a:pt x="145" y="46"/>
                    <a:pt x="145" y="46"/>
                    <a:pt x="145" y="46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63" y="54"/>
                    <a:pt x="163" y="54"/>
                    <a:pt x="163" y="54"/>
                  </a:cubicBezTo>
                  <a:cubicBezTo>
                    <a:pt x="170" y="58"/>
                    <a:pt x="170" y="58"/>
                    <a:pt x="170" y="58"/>
                  </a:cubicBezTo>
                  <a:lnTo>
                    <a:pt x="170" y="61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4" name="Freeform 51"/>
            <p:cNvSpPr>
              <a:spLocks/>
            </p:cNvSpPr>
            <p:nvPr/>
          </p:nvSpPr>
          <p:spPr bwMode="auto">
            <a:xfrm>
              <a:off x="1913" y="3697"/>
              <a:ext cx="225" cy="160"/>
            </a:xfrm>
            <a:custGeom>
              <a:avLst/>
              <a:gdLst>
                <a:gd name="T0" fmla="*/ 107 w 108"/>
                <a:gd name="T1" fmla="*/ 68 h 77"/>
                <a:gd name="T2" fmla="*/ 106 w 108"/>
                <a:gd name="T3" fmla="*/ 68 h 77"/>
                <a:gd name="T4" fmla="*/ 100 w 108"/>
                <a:gd name="T5" fmla="*/ 73 h 77"/>
                <a:gd name="T6" fmla="*/ 87 w 108"/>
                <a:gd name="T7" fmla="*/ 74 h 77"/>
                <a:gd name="T8" fmla="*/ 73 w 108"/>
                <a:gd name="T9" fmla="*/ 73 h 77"/>
                <a:gd name="T10" fmla="*/ 59 w 108"/>
                <a:gd name="T11" fmla="*/ 69 h 77"/>
                <a:gd name="T12" fmla="*/ 47 w 108"/>
                <a:gd name="T13" fmla="*/ 73 h 77"/>
                <a:gd name="T14" fmla="*/ 35 w 108"/>
                <a:gd name="T15" fmla="*/ 70 h 77"/>
                <a:gd name="T16" fmla="*/ 20 w 108"/>
                <a:gd name="T17" fmla="*/ 68 h 77"/>
                <a:gd name="T18" fmla="*/ 14 w 108"/>
                <a:gd name="T19" fmla="*/ 67 h 77"/>
                <a:gd name="T20" fmla="*/ 18 w 108"/>
                <a:gd name="T21" fmla="*/ 60 h 77"/>
                <a:gd name="T22" fmla="*/ 14 w 108"/>
                <a:gd name="T23" fmla="*/ 53 h 77"/>
                <a:gd name="T24" fmla="*/ 7 w 108"/>
                <a:gd name="T25" fmla="*/ 51 h 77"/>
                <a:gd name="T26" fmla="*/ 1 w 108"/>
                <a:gd name="T27" fmla="*/ 49 h 77"/>
                <a:gd name="T28" fmla="*/ 0 w 108"/>
                <a:gd name="T29" fmla="*/ 42 h 77"/>
                <a:gd name="T30" fmla="*/ 4 w 108"/>
                <a:gd name="T31" fmla="*/ 42 h 77"/>
                <a:gd name="T32" fmla="*/ 8 w 108"/>
                <a:gd name="T33" fmla="*/ 37 h 77"/>
                <a:gd name="T34" fmla="*/ 6 w 108"/>
                <a:gd name="T35" fmla="*/ 33 h 77"/>
                <a:gd name="T36" fmla="*/ 9 w 108"/>
                <a:gd name="T37" fmla="*/ 28 h 77"/>
                <a:gd name="T38" fmla="*/ 17 w 108"/>
                <a:gd name="T39" fmla="*/ 28 h 77"/>
                <a:gd name="T40" fmla="*/ 19 w 108"/>
                <a:gd name="T41" fmla="*/ 22 h 77"/>
                <a:gd name="T42" fmla="*/ 18 w 108"/>
                <a:gd name="T43" fmla="*/ 7 h 77"/>
                <a:gd name="T44" fmla="*/ 16 w 108"/>
                <a:gd name="T45" fmla="*/ 5 h 77"/>
                <a:gd name="T46" fmla="*/ 25 w 108"/>
                <a:gd name="T47" fmla="*/ 0 h 77"/>
                <a:gd name="T48" fmla="*/ 36 w 108"/>
                <a:gd name="T49" fmla="*/ 4 h 77"/>
                <a:gd name="T50" fmla="*/ 45 w 108"/>
                <a:gd name="T51" fmla="*/ 4 h 77"/>
                <a:gd name="T52" fmla="*/ 49 w 108"/>
                <a:gd name="T53" fmla="*/ 11 h 77"/>
                <a:gd name="T54" fmla="*/ 61 w 108"/>
                <a:gd name="T55" fmla="*/ 4 h 77"/>
                <a:gd name="T56" fmla="*/ 68 w 108"/>
                <a:gd name="T57" fmla="*/ 8 h 77"/>
                <a:gd name="T58" fmla="*/ 63 w 108"/>
                <a:gd name="T59" fmla="*/ 16 h 77"/>
                <a:gd name="T60" fmla="*/ 71 w 108"/>
                <a:gd name="T61" fmla="*/ 25 h 77"/>
                <a:gd name="T62" fmla="*/ 73 w 108"/>
                <a:gd name="T63" fmla="*/ 34 h 77"/>
                <a:gd name="T64" fmla="*/ 81 w 108"/>
                <a:gd name="T65" fmla="*/ 37 h 77"/>
                <a:gd name="T66" fmla="*/ 89 w 108"/>
                <a:gd name="T67" fmla="*/ 39 h 77"/>
                <a:gd name="T68" fmla="*/ 95 w 108"/>
                <a:gd name="T69" fmla="*/ 45 h 77"/>
                <a:gd name="T70" fmla="*/ 95 w 108"/>
                <a:gd name="T71" fmla="*/ 53 h 77"/>
                <a:gd name="T72" fmla="*/ 108 w 108"/>
                <a:gd name="T73" fmla="*/ 58 h 77"/>
                <a:gd name="T74" fmla="*/ 107 w 108"/>
                <a:gd name="T75" fmla="*/ 6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8" h="77">
                  <a:moveTo>
                    <a:pt x="107" y="68"/>
                  </a:moveTo>
                  <a:cubicBezTo>
                    <a:pt x="107" y="68"/>
                    <a:pt x="106" y="68"/>
                    <a:pt x="106" y="68"/>
                  </a:cubicBezTo>
                  <a:cubicBezTo>
                    <a:pt x="102" y="69"/>
                    <a:pt x="102" y="73"/>
                    <a:pt x="100" y="73"/>
                  </a:cubicBezTo>
                  <a:cubicBezTo>
                    <a:pt x="99" y="74"/>
                    <a:pt x="89" y="75"/>
                    <a:pt x="87" y="74"/>
                  </a:cubicBezTo>
                  <a:cubicBezTo>
                    <a:pt x="85" y="73"/>
                    <a:pt x="77" y="73"/>
                    <a:pt x="73" y="73"/>
                  </a:cubicBezTo>
                  <a:cubicBezTo>
                    <a:pt x="68" y="73"/>
                    <a:pt x="64" y="73"/>
                    <a:pt x="59" y="69"/>
                  </a:cubicBezTo>
                  <a:cubicBezTo>
                    <a:pt x="55" y="66"/>
                    <a:pt x="51" y="69"/>
                    <a:pt x="47" y="73"/>
                  </a:cubicBezTo>
                  <a:cubicBezTo>
                    <a:pt x="43" y="77"/>
                    <a:pt x="39" y="70"/>
                    <a:pt x="35" y="70"/>
                  </a:cubicBezTo>
                  <a:cubicBezTo>
                    <a:pt x="31" y="69"/>
                    <a:pt x="25" y="69"/>
                    <a:pt x="20" y="68"/>
                  </a:cubicBezTo>
                  <a:cubicBezTo>
                    <a:pt x="18" y="67"/>
                    <a:pt x="16" y="67"/>
                    <a:pt x="14" y="67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3" y="16"/>
                    <a:pt x="63" y="16"/>
                    <a:pt x="63" y="1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9" y="39"/>
                    <a:pt x="89" y="39"/>
                    <a:pt x="89" y="39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108" y="58"/>
                    <a:pt x="108" y="58"/>
                    <a:pt x="108" y="58"/>
                  </a:cubicBezTo>
                  <a:lnTo>
                    <a:pt x="107" y="68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5" name="Freeform 52"/>
            <p:cNvSpPr>
              <a:spLocks/>
            </p:cNvSpPr>
            <p:nvPr/>
          </p:nvSpPr>
          <p:spPr bwMode="auto">
            <a:xfrm>
              <a:off x="1735" y="3664"/>
              <a:ext cx="217" cy="252"/>
            </a:xfrm>
            <a:custGeom>
              <a:avLst/>
              <a:gdLst>
                <a:gd name="T0" fmla="*/ 89 w 104"/>
                <a:gd name="T1" fmla="*/ 83 h 121"/>
                <a:gd name="T2" fmla="*/ 64 w 104"/>
                <a:gd name="T3" fmla="*/ 75 h 121"/>
                <a:gd name="T4" fmla="*/ 59 w 104"/>
                <a:gd name="T5" fmla="*/ 88 h 121"/>
                <a:gd name="T6" fmla="*/ 66 w 104"/>
                <a:gd name="T7" fmla="*/ 102 h 121"/>
                <a:gd name="T8" fmla="*/ 54 w 104"/>
                <a:gd name="T9" fmla="*/ 102 h 121"/>
                <a:gd name="T10" fmla="*/ 42 w 104"/>
                <a:gd name="T11" fmla="*/ 118 h 121"/>
                <a:gd name="T12" fmla="*/ 22 w 104"/>
                <a:gd name="T13" fmla="*/ 120 h 121"/>
                <a:gd name="T14" fmla="*/ 22 w 104"/>
                <a:gd name="T15" fmla="*/ 116 h 121"/>
                <a:gd name="T16" fmla="*/ 23 w 104"/>
                <a:gd name="T17" fmla="*/ 106 h 121"/>
                <a:gd name="T18" fmla="*/ 10 w 104"/>
                <a:gd name="T19" fmla="*/ 106 h 121"/>
                <a:gd name="T20" fmla="*/ 4 w 104"/>
                <a:gd name="T21" fmla="*/ 99 h 121"/>
                <a:gd name="T22" fmla="*/ 12 w 104"/>
                <a:gd name="T23" fmla="*/ 85 h 121"/>
                <a:gd name="T24" fmla="*/ 15 w 104"/>
                <a:gd name="T25" fmla="*/ 81 h 121"/>
                <a:gd name="T26" fmla="*/ 21 w 104"/>
                <a:gd name="T27" fmla="*/ 68 h 121"/>
                <a:gd name="T28" fmla="*/ 31 w 104"/>
                <a:gd name="T29" fmla="*/ 58 h 121"/>
                <a:gd name="T30" fmla="*/ 39 w 104"/>
                <a:gd name="T31" fmla="*/ 61 h 121"/>
                <a:gd name="T32" fmla="*/ 45 w 104"/>
                <a:gd name="T33" fmla="*/ 56 h 121"/>
                <a:gd name="T34" fmla="*/ 40 w 104"/>
                <a:gd name="T35" fmla="*/ 46 h 121"/>
                <a:gd name="T36" fmla="*/ 31 w 104"/>
                <a:gd name="T37" fmla="*/ 47 h 121"/>
                <a:gd name="T38" fmla="*/ 20 w 104"/>
                <a:gd name="T39" fmla="*/ 45 h 121"/>
                <a:gd name="T40" fmla="*/ 16 w 104"/>
                <a:gd name="T41" fmla="*/ 31 h 121"/>
                <a:gd name="T42" fmla="*/ 16 w 104"/>
                <a:gd name="T43" fmla="*/ 17 h 121"/>
                <a:gd name="T44" fmla="*/ 28 w 104"/>
                <a:gd name="T45" fmla="*/ 19 h 121"/>
                <a:gd name="T46" fmla="*/ 34 w 104"/>
                <a:gd name="T47" fmla="*/ 29 h 121"/>
                <a:gd name="T48" fmla="*/ 44 w 104"/>
                <a:gd name="T49" fmla="*/ 26 h 121"/>
                <a:gd name="T50" fmla="*/ 54 w 104"/>
                <a:gd name="T51" fmla="*/ 18 h 121"/>
                <a:gd name="T52" fmla="*/ 58 w 104"/>
                <a:gd name="T53" fmla="*/ 1 h 121"/>
                <a:gd name="T54" fmla="*/ 68 w 104"/>
                <a:gd name="T55" fmla="*/ 6 h 121"/>
                <a:gd name="T56" fmla="*/ 87 w 104"/>
                <a:gd name="T57" fmla="*/ 17 h 121"/>
                <a:gd name="T58" fmla="*/ 103 w 104"/>
                <a:gd name="T59" fmla="*/ 23 h 121"/>
                <a:gd name="T60" fmla="*/ 102 w 104"/>
                <a:gd name="T61" fmla="*/ 44 h 121"/>
                <a:gd name="T62" fmla="*/ 91 w 104"/>
                <a:gd name="T63" fmla="*/ 49 h 121"/>
                <a:gd name="T64" fmla="*/ 89 w 104"/>
                <a:gd name="T65" fmla="*/ 58 h 121"/>
                <a:gd name="T66" fmla="*/ 86 w 104"/>
                <a:gd name="T67" fmla="*/ 65 h 121"/>
                <a:gd name="T68" fmla="*/ 99 w 104"/>
                <a:gd name="T69" fmla="*/ 69 h 121"/>
                <a:gd name="T70" fmla="*/ 99 w 104"/>
                <a:gd name="T71" fmla="*/ 8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4" h="121">
                  <a:moveTo>
                    <a:pt x="99" y="83"/>
                  </a:moveTo>
                  <a:cubicBezTo>
                    <a:pt x="95" y="83"/>
                    <a:pt x="92" y="83"/>
                    <a:pt x="89" y="83"/>
                  </a:cubicBezTo>
                  <a:cubicBezTo>
                    <a:pt x="85" y="83"/>
                    <a:pt x="84" y="83"/>
                    <a:pt x="79" y="80"/>
                  </a:cubicBezTo>
                  <a:cubicBezTo>
                    <a:pt x="75" y="76"/>
                    <a:pt x="65" y="74"/>
                    <a:pt x="64" y="75"/>
                  </a:cubicBezTo>
                  <a:cubicBezTo>
                    <a:pt x="63" y="76"/>
                    <a:pt x="62" y="78"/>
                    <a:pt x="59" y="81"/>
                  </a:cubicBezTo>
                  <a:cubicBezTo>
                    <a:pt x="56" y="85"/>
                    <a:pt x="58" y="86"/>
                    <a:pt x="59" y="88"/>
                  </a:cubicBezTo>
                  <a:cubicBezTo>
                    <a:pt x="60" y="90"/>
                    <a:pt x="58" y="90"/>
                    <a:pt x="56" y="93"/>
                  </a:cubicBezTo>
                  <a:cubicBezTo>
                    <a:pt x="54" y="95"/>
                    <a:pt x="59" y="97"/>
                    <a:pt x="66" y="102"/>
                  </a:cubicBezTo>
                  <a:cubicBezTo>
                    <a:pt x="73" y="108"/>
                    <a:pt x="68" y="108"/>
                    <a:pt x="65" y="109"/>
                  </a:cubicBezTo>
                  <a:cubicBezTo>
                    <a:pt x="62" y="110"/>
                    <a:pt x="57" y="105"/>
                    <a:pt x="54" y="102"/>
                  </a:cubicBezTo>
                  <a:cubicBezTo>
                    <a:pt x="51" y="99"/>
                    <a:pt x="47" y="103"/>
                    <a:pt x="43" y="105"/>
                  </a:cubicBezTo>
                  <a:cubicBezTo>
                    <a:pt x="39" y="108"/>
                    <a:pt x="41" y="115"/>
                    <a:pt x="42" y="118"/>
                  </a:cubicBezTo>
                  <a:cubicBezTo>
                    <a:pt x="42" y="121"/>
                    <a:pt x="41" y="120"/>
                    <a:pt x="35" y="120"/>
                  </a:cubicBezTo>
                  <a:cubicBezTo>
                    <a:pt x="30" y="120"/>
                    <a:pt x="25" y="118"/>
                    <a:pt x="22" y="120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5" y="110"/>
                    <a:pt x="25" y="110"/>
                    <a:pt x="25" y="110"/>
                  </a:cubicBezTo>
                  <a:cubicBezTo>
                    <a:pt x="23" y="106"/>
                    <a:pt x="23" y="106"/>
                    <a:pt x="23" y="106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4" y="100"/>
                    <a:pt x="4" y="99"/>
                  </a:cubicBezTo>
                  <a:cubicBezTo>
                    <a:pt x="5" y="99"/>
                    <a:pt x="9" y="93"/>
                    <a:pt x="9" y="93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4" y="18"/>
                    <a:pt x="54" y="18"/>
                  </a:cubicBezTo>
                  <a:cubicBezTo>
                    <a:pt x="55" y="17"/>
                    <a:pt x="58" y="11"/>
                    <a:pt x="58" y="1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87" y="17"/>
                    <a:pt x="87" y="17"/>
                    <a:pt x="87" y="17"/>
                  </a:cubicBezTo>
                  <a:cubicBezTo>
                    <a:pt x="92" y="12"/>
                    <a:pt x="92" y="12"/>
                    <a:pt x="92" y="12"/>
                  </a:cubicBezTo>
                  <a:cubicBezTo>
                    <a:pt x="103" y="23"/>
                    <a:pt x="103" y="23"/>
                    <a:pt x="103" y="23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94" y="44"/>
                    <a:pt x="94" y="44"/>
                    <a:pt x="94" y="44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103" y="76"/>
                    <a:pt x="103" y="76"/>
                    <a:pt x="103" y="76"/>
                  </a:cubicBezTo>
                  <a:lnTo>
                    <a:pt x="99" y="8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6" name="Freeform 53"/>
            <p:cNvSpPr>
              <a:spLocks/>
            </p:cNvSpPr>
            <p:nvPr/>
          </p:nvSpPr>
          <p:spPr bwMode="auto">
            <a:xfrm>
              <a:off x="1802" y="3355"/>
              <a:ext cx="315" cy="365"/>
            </a:xfrm>
            <a:custGeom>
              <a:avLst/>
              <a:gdLst>
                <a:gd name="T0" fmla="*/ 225 w 315"/>
                <a:gd name="T1" fmla="*/ 9 h 365"/>
                <a:gd name="T2" fmla="*/ 261 w 315"/>
                <a:gd name="T3" fmla="*/ 50 h 365"/>
                <a:gd name="T4" fmla="*/ 279 w 315"/>
                <a:gd name="T5" fmla="*/ 77 h 365"/>
                <a:gd name="T6" fmla="*/ 273 w 315"/>
                <a:gd name="T7" fmla="*/ 109 h 365"/>
                <a:gd name="T8" fmla="*/ 271 w 315"/>
                <a:gd name="T9" fmla="*/ 146 h 365"/>
                <a:gd name="T10" fmla="*/ 279 w 315"/>
                <a:gd name="T11" fmla="*/ 171 h 365"/>
                <a:gd name="T12" fmla="*/ 275 w 315"/>
                <a:gd name="T13" fmla="*/ 196 h 365"/>
                <a:gd name="T14" fmla="*/ 296 w 315"/>
                <a:gd name="T15" fmla="*/ 223 h 365"/>
                <a:gd name="T16" fmla="*/ 306 w 315"/>
                <a:gd name="T17" fmla="*/ 242 h 365"/>
                <a:gd name="T18" fmla="*/ 315 w 315"/>
                <a:gd name="T19" fmla="*/ 265 h 365"/>
                <a:gd name="T20" fmla="*/ 315 w 315"/>
                <a:gd name="T21" fmla="*/ 300 h 365"/>
                <a:gd name="T22" fmla="*/ 288 w 315"/>
                <a:gd name="T23" fmla="*/ 302 h 365"/>
                <a:gd name="T24" fmla="*/ 271 w 315"/>
                <a:gd name="T25" fmla="*/ 307 h 365"/>
                <a:gd name="T26" fmla="*/ 261 w 315"/>
                <a:gd name="T27" fmla="*/ 327 h 365"/>
                <a:gd name="T28" fmla="*/ 252 w 315"/>
                <a:gd name="T29" fmla="*/ 359 h 365"/>
                <a:gd name="T30" fmla="*/ 213 w 315"/>
                <a:gd name="T31" fmla="*/ 365 h 365"/>
                <a:gd name="T32" fmla="*/ 186 w 315"/>
                <a:gd name="T33" fmla="*/ 350 h 365"/>
                <a:gd name="T34" fmla="*/ 144 w 315"/>
                <a:gd name="T35" fmla="*/ 352 h 365"/>
                <a:gd name="T36" fmla="*/ 115 w 315"/>
                <a:gd name="T37" fmla="*/ 344 h 365"/>
                <a:gd name="T38" fmla="*/ 75 w 315"/>
                <a:gd name="T39" fmla="*/ 321 h 365"/>
                <a:gd name="T40" fmla="*/ 54 w 315"/>
                <a:gd name="T41" fmla="*/ 311 h 365"/>
                <a:gd name="T42" fmla="*/ 36 w 315"/>
                <a:gd name="T43" fmla="*/ 309 h 365"/>
                <a:gd name="T44" fmla="*/ 0 w 315"/>
                <a:gd name="T45" fmla="*/ 284 h 365"/>
                <a:gd name="T46" fmla="*/ 19 w 315"/>
                <a:gd name="T47" fmla="*/ 248 h 365"/>
                <a:gd name="T48" fmla="*/ 50 w 315"/>
                <a:gd name="T49" fmla="*/ 244 h 365"/>
                <a:gd name="T50" fmla="*/ 67 w 315"/>
                <a:gd name="T51" fmla="*/ 221 h 365"/>
                <a:gd name="T52" fmla="*/ 92 w 315"/>
                <a:gd name="T53" fmla="*/ 221 h 365"/>
                <a:gd name="T54" fmla="*/ 98 w 315"/>
                <a:gd name="T55" fmla="*/ 200 h 365"/>
                <a:gd name="T56" fmla="*/ 127 w 315"/>
                <a:gd name="T57" fmla="*/ 186 h 365"/>
                <a:gd name="T58" fmla="*/ 129 w 315"/>
                <a:gd name="T59" fmla="*/ 161 h 365"/>
                <a:gd name="T60" fmla="*/ 121 w 315"/>
                <a:gd name="T61" fmla="*/ 136 h 365"/>
                <a:gd name="T62" fmla="*/ 131 w 315"/>
                <a:gd name="T63" fmla="*/ 107 h 365"/>
                <a:gd name="T64" fmla="*/ 177 w 315"/>
                <a:gd name="T65" fmla="*/ 67 h 365"/>
                <a:gd name="T66" fmla="*/ 188 w 315"/>
                <a:gd name="T67" fmla="*/ 36 h 365"/>
                <a:gd name="T68" fmla="*/ 200 w 315"/>
                <a:gd name="T69" fmla="*/ 15 h 365"/>
                <a:gd name="T70" fmla="*/ 213 w 315"/>
                <a:gd name="T71" fmla="*/ 0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5" h="365">
                  <a:moveTo>
                    <a:pt x="213" y="0"/>
                  </a:moveTo>
                  <a:lnTo>
                    <a:pt x="225" y="9"/>
                  </a:lnTo>
                  <a:lnTo>
                    <a:pt x="223" y="19"/>
                  </a:lnTo>
                  <a:lnTo>
                    <a:pt x="261" y="50"/>
                  </a:lnTo>
                  <a:lnTo>
                    <a:pt x="267" y="67"/>
                  </a:lnTo>
                  <a:lnTo>
                    <a:pt x="279" y="77"/>
                  </a:lnTo>
                  <a:lnTo>
                    <a:pt x="279" y="98"/>
                  </a:lnTo>
                  <a:lnTo>
                    <a:pt x="273" y="109"/>
                  </a:lnTo>
                  <a:lnTo>
                    <a:pt x="273" y="129"/>
                  </a:lnTo>
                  <a:lnTo>
                    <a:pt x="271" y="146"/>
                  </a:lnTo>
                  <a:lnTo>
                    <a:pt x="281" y="161"/>
                  </a:lnTo>
                  <a:lnTo>
                    <a:pt x="279" y="171"/>
                  </a:lnTo>
                  <a:lnTo>
                    <a:pt x="271" y="182"/>
                  </a:lnTo>
                  <a:lnTo>
                    <a:pt x="275" y="196"/>
                  </a:lnTo>
                  <a:lnTo>
                    <a:pt x="292" y="202"/>
                  </a:lnTo>
                  <a:lnTo>
                    <a:pt x="296" y="223"/>
                  </a:lnTo>
                  <a:lnTo>
                    <a:pt x="309" y="227"/>
                  </a:lnTo>
                  <a:lnTo>
                    <a:pt x="306" y="242"/>
                  </a:lnTo>
                  <a:lnTo>
                    <a:pt x="309" y="259"/>
                  </a:lnTo>
                  <a:lnTo>
                    <a:pt x="315" y="265"/>
                  </a:lnTo>
                  <a:lnTo>
                    <a:pt x="311" y="288"/>
                  </a:lnTo>
                  <a:lnTo>
                    <a:pt x="315" y="300"/>
                  </a:lnTo>
                  <a:lnTo>
                    <a:pt x="300" y="309"/>
                  </a:lnTo>
                  <a:lnTo>
                    <a:pt x="288" y="302"/>
                  </a:lnTo>
                  <a:lnTo>
                    <a:pt x="284" y="311"/>
                  </a:lnTo>
                  <a:lnTo>
                    <a:pt x="271" y="307"/>
                  </a:lnTo>
                  <a:lnTo>
                    <a:pt x="261" y="317"/>
                  </a:lnTo>
                  <a:lnTo>
                    <a:pt x="261" y="327"/>
                  </a:lnTo>
                  <a:lnTo>
                    <a:pt x="256" y="342"/>
                  </a:lnTo>
                  <a:lnTo>
                    <a:pt x="252" y="359"/>
                  </a:lnTo>
                  <a:lnTo>
                    <a:pt x="238" y="350"/>
                  </a:lnTo>
                  <a:lnTo>
                    <a:pt x="213" y="365"/>
                  </a:lnTo>
                  <a:lnTo>
                    <a:pt x="204" y="350"/>
                  </a:lnTo>
                  <a:lnTo>
                    <a:pt x="186" y="350"/>
                  </a:lnTo>
                  <a:lnTo>
                    <a:pt x="163" y="342"/>
                  </a:lnTo>
                  <a:lnTo>
                    <a:pt x="144" y="352"/>
                  </a:lnTo>
                  <a:lnTo>
                    <a:pt x="125" y="334"/>
                  </a:lnTo>
                  <a:lnTo>
                    <a:pt x="115" y="344"/>
                  </a:lnTo>
                  <a:lnTo>
                    <a:pt x="96" y="332"/>
                  </a:lnTo>
                  <a:lnTo>
                    <a:pt x="75" y="321"/>
                  </a:lnTo>
                  <a:lnTo>
                    <a:pt x="65" y="309"/>
                  </a:lnTo>
                  <a:lnTo>
                    <a:pt x="54" y="311"/>
                  </a:lnTo>
                  <a:lnTo>
                    <a:pt x="42" y="323"/>
                  </a:lnTo>
                  <a:lnTo>
                    <a:pt x="36" y="309"/>
                  </a:lnTo>
                  <a:lnTo>
                    <a:pt x="21" y="307"/>
                  </a:lnTo>
                  <a:lnTo>
                    <a:pt x="0" y="284"/>
                  </a:lnTo>
                  <a:lnTo>
                    <a:pt x="15" y="267"/>
                  </a:lnTo>
                  <a:lnTo>
                    <a:pt x="19" y="248"/>
                  </a:lnTo>
                  <a:lnTo>
                    <a:pt x="40" y="250"/>
                  </a:lnTo>
                  <a:lnTo>
                    <a:pt x="50" y="244"/>
                  </a:lnTo>
                  <a:lnTo>
                    <a:pt x="56" y="225"/>
                  </a:lnTo>
                  <a:lnTo>
                    <a:pt x="67" y="221"/>
                  </a:lnTo>
                  <a:lnTo>
                    <a:pt x="79" y="232"/>
                  </a:lnTo>
                  <a:lnTo>
                    <a:pt x="92" y="221"/>
                  </a:lnTo>
                  <a:lnTo>
                    <a:pt x="83" y="209"/>
                  </a:lnTo>
                  <a:lnTo>
                    <a:pt x="98" y="200"/>
                  </a:lnTo>
                  <a:lnTo>
                    <a:pt x="113" y="200"/>
                  </a:lnTo>
                  <a:lnTo>
                    <a:pt x="127" y="186"/>
                  </a:lnTo>
                  <a:lnTo>
                    <a:pt x="117" y="173"/>
                  </a:lnTo>
                  <a:lnTo>
                    <a:pt x="129" y="161"/>
                  </a:lnTo>
                  <a:lnTo>
                    <a:pt x="129" y="146"/>
                  </a:lnTo>
                  <a:lnTo>
                    <a:pt x="121" y="136"/>
                  </a:lnTo>
                  <a:lnTo>
                    <a:pt x="123" y="119"/>
                  </a:lnTo>
                  <a:lnTo>
                    <a:pt x="131" y="107"/>
                  </a:lnTo>
                  <a:lnTo>
                    <a:pt x="150" y="107"/>
                  </a:lnTo>
                  <a:lnTo>
                    <a:pt x="177" y="67"/>
                  </a:lnTo>
                  <a:lnTo>
                    <a:pt x="188" y="54"/>
                  </a:lnTo>
                  <a:lnTo>
                    <a:pt x="188" y="36"/>
                  </a:lnTo>
                  <a:lnTo>
                    <a:pt x="202" y="29"/>
                  </a:lnTo>
                  <a:lnTo>
                    <a:pt x="200" y="15"/>
                  </a:lnTo>
                  <a:lnTo>
                    <a:pt x="208" y="4"/>
                  </a:lnTo>
                  <a:lnTo>
                    <a:pt x="213" y="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7" name="Freeform 54"/>
            <p:cNvSpPr>
              <a:spLocks/>
            </p:cNvSpPr>
            <p:nvPr/>
          </p:nvSpPr>
          <p:spPr bwMode="auto">
            <a:xfrm>
              <a:off x="2398" y="3584"/>
              <a:ext cx="456" cy="334"/>
            </a:xfrm>
            <a:custGeom>
              <a:avLst/>
              <a:gdLst>
                <a:gd name="T0" fmla="*/ 31 w 456"/>
                <a:gd name="T1" fmla="*/ 207 h 334"/>
                <a:gd name="T2" fmla="*/ 69 w 456"/>
                <a:gd name="T3" fmla="*/ 219 h 334"/>
                <a:gd name="T4" fmla="*/ 146 w 456"/>
                <a:gd name="T5" fmla="*/ 278 h 334"/>
                <a:gd name="T6" fmla="*/ 192 w 456"/>
                <a:gd name="T7" fmla="*/ 292 h 334"/>
                <a:gd name="T8" fmla="*/ 231 w 456"/>
                <a:gd name="T9" fmla="*/ 278 h 334"/>
                <a:gd name="T10" fmla="*/ 244 w 456"/>
                <a:gd name="T11" fmla="*/ 313 h 334"/>
                <a:gd name="T12" fmla="*/ 244 w 456"/>
                <a:gd name="T13" fmla="*/ 326 h 334"/>
                <a:gd name="T14" fmla="*/ 269 w 456"/>
                <a:gd name="T15" fmla="*/ 313 h 334"/>
                <a:gd name="T16" fmla="*/ 300 w 456"/>
                <a:gd name="T17" fmla="*/ 307 h 334"/>
                <a:gd name="T18" fmla="*/ 352 w 456"/>
                <a:gd name="T19" fmla="*/ 290 h 334"/>
                <a:gd name="T20" fmla="*/ 377 w 456"/>
                <a:gd name="T21" fmla="*/ 294 h 334"/>
                <a:gd name="T22" fmla="*/ 398 w 456"/>
                <a:gd name="T23" fmla="*/ 290 h 334"/>
                <a:gd name="T24" fmla="*/ 427 w 456"/>
                <a:gd name="T25" fmla="*/ 271 h 334"/>
                <a:gd name="T26" fmla="*/ 442 w 456"/>
                <a:gd name="T27" fmla="*/ 232 h 334"/>
                <a:gd name="T28" fmla="*/ 452 w 456"/>
                <a:gd name="T29" fmla="*/ 213 h 334"/>
                <a:gd name="T30" fmla="*/ 421 w 456"/>
                <a:gd name="T31" fmla="*/ 205 h 334"/>
                <a:gd name="T32" fmla="*/ 411 w 456"/>
                <a:gd name="T33" fmla="*/ 171 h 334"/>
                <a:gd name="T34" fmla="*/ 429 w 456"/>
                <a:gd name="T35" fmla="*/ 128 h 334"/>
                <a:gd name="T36" fmla="*/ 406 w 456"/>
                <a:gd name="T37" fmla="*/ 111 h 334"/>
                <a:gd name="T38" fmla="*/ 338 w 456"/>
                <a:gd name="T39" fmla="*/ 82 h 334"/>
                <a:gd name="T40" fmla="*/ 313 w 456"/>
                <a:gd name="T41" fmla="*/ 82 h 334"/>
                <a:gd name="T42" fmla="*/ 319 w 456"/>
                <a:gd name="T43" fmla="*/ 55 h 334"/>
                <a:gd name="T44" fmla="*/ 275 w 456"/>
                <a:gd name="T45" fmla="*/ 7 h 334"/>
                <a:gd name="T46" fmla="*/ 244 w 456"/>
                <a:gd name="T47" fmla="*/ 36 h 334"/>
                <a:gd name="T48" fmla="*/ 213 w 456"/>
                <a:gd name="T49" fmla="*/ 28 h 334"/>
                <a:gd name="T50" fmla="*/ 181 w 456"/>
                <a:gd name="T51" fmla="*/ 17 h 334"/>
                <a:gd name="T52" fmla="*/ 150 w 456"/>
                <a:gd name="T53" fmla="*/ 7 h 334"/>
                <a:gd name="T54" fmla="*/ 113 w 456"/>
                <a:gd name="T55" fmla="*/ 0 h 334"/>
                <a:gd name="T56" fmla="*/ 71 w 456"/>
                <a:gd name="T57" fmla="*/ 40 h 334"/>
                <a:gd name="T58" fmla="*/ 52 w 456"/>
                <a:gd name="T59" fmla="*/ 67 h 334"/>
                <a:gd name="T60" fmla="*/ 27 w 456"/>
                <a:gd name="T61" fmla="*/ 96 h 334"/>
                <a:gd name="T62" fmla="*/ 2 w 456"/>
                <a:gd name="T63" fmla="*/ 115 h 334"/>
                <a:gd name="T64" fmla="*/ 0 w 456"/>
                <a:gd name="T65" fmla="*/ 151 h 334"/>
                <a:gd name="T66" fmla="*/ 8 w 456"/>
                <a:gd name="T67" fmla="*/ 173 h 334"/>
                <a:gd name="T68" fmla="*/ 19 w 456"/>
                <a:gd name="T69" fmla="*/ 20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6" h="334">
                  <a:moveTo>
                    <a:pt x="19" y="205"/>
                  </a:moveTo>
                  <a:lnTo>
                    <a:pt x="31" y="207"/>
                  </a:lnTo>
                  <a:lnTo>
                    <a:pt x="44" y="219"/>
                  </a:lnTo>
                  <a:lnTo>
                    <a:pt x="69" y="219"/>
                  </a:lnTo>
                  <a:lnTo>
                    <a:pt x="111" y="234"/>
                  </a:lnTo>
                  <a:lnTo>
                    <a:pt x="146" y="278"/>
                  </a:lnTo>
                  <a:lnTo>
                    <a:pt x="177" y="278"/>
                  </a:lnTo>
                  <a:lnTo>
                    <a:pt x="192" y="292"/>
                  </a:lnTo>
                  <a:lnTo>
                    <a:pt x="221" y="290"/>
                  </a:lnTo>
                  <a:lnTo>
                    <a:pt x="231" y="278"/>
                  </a:lnTo>
                  <a:lnTo>
                    <a:pt x="246" y="284"/>
                  </a:lnTo>
                  <a:lnTo>
                    <a:pt x="244" y="313"/>
                  </a:lnTo>
                  <a:lnTo>
                    <a:pt x="248" y="319"/>
                  </a:lnTo>
                  <a:lnTo>
                    <a:pt x="244" y="326"/>
                  </a:lnTo>
                  <a:lnTo>
                    <a:pt x="250" y="334"/>
                  </a:lnTo>
                  <a:lnTo>
                    <a:pt x="269" y="313"/>
                  </a:lnTo>
                  <a:lnTo>
                    <a:pt x="288" y="317"/>
                  </a:lnTo>
                  <a:lnTo>
                    <a:pt x="300" y="307"/>
                  </a:lnTo>
                  <a:lnTo>
                    <a:pt x="327" y="309"/>
                  </a:lnTo>
                  <a:lnTo>
                    <a:pt x="352" y="290"/>
                  </a:lnTo>
                  <a:lnTo>
                    <a:pt x="373" y="290"/>
                  </a:lnTo>
                  <a:lnTo>
                    <a:pt x="377" y="294"/>
                  </a:lnTo>
                  <a:lnTo>
                    <a:pt x="390" y="284"/>
                  </a:lnTo>
                  <a:lnTo>
                    <a:pt x="398" y="290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31" y="248"/>
                  </a:lnTo>
                  <a:lnTo>
                    <a:pt x="442" y="232"/>
                  </a:lnTo>
                  <a:lnTo>
                    <a:pt x="456" y="228"/>
                  </a:lnTo>
                  <a:lnTo>
                    <a:pt x="452" y="213"/>
                  </a:lnTo>
                  <a:lnTo>
                    <a:pt x="440" y="205"/>
                  </a:lnTo>
                  <a:lnTo>
                    <a:pt x="421" y="205"/>
                  </a:lnTo>
                  <a:lnTo>
                    <a:pt x="417" y="194"/>
                  </a:lnTo>
                  <a:lnTo>
                    <a:pt x="411" y="171"/>
                  </a:lnTo>
                  <a:lnTo>
                    <a:pt x="438" y="136"/>
                  </a:lnTo>
                  <a:lnTo>
                    <a:pt x="429" y="128"/>
                  </a:lnTo>
                  <a:lnTo>
                    <a:pt x="409" y="128"/>
                  </a:lnTo>
                  <a:lnTo>
                    <a:pt x="406" y="111"/>
                  </a:lnTo>
                  <a:lnTo>
                    <a:pt x="381" y="80"/>
                  </a:lnTo>
                  <a:lnTo>
                    <a:pt x="338" y="82"/>
                  </a:lnTo>
                  <a:lnTo>
                    <a:pt x="327" y="86"/>
                  </a:lnTo>
                  <a:lnTo>
                    <a:pt x="313" y="82"/>
                  </a:lnTo>
                  <a:lnTo>
                    <a:pt x="306" y="67"/>
                  </a:lnTo>
                  <a:lnTo>
                    <a:pt x="319" y="55"/>
                  </a:lnTo>
                  <a:lnTo>
                    <a:pt x="304" y="23"/>
                  </a:lnTo>
                  <a:lnTo>
                    <a:pt x="275" y="7"/>
                  </a:lnTo>
                  <a:lnTo>
                    <a:pt x="248" y="21"/>
                  </a:lnTo>
                  <a:lnTo>
                    <a:pt x="244" y="36"/>
                  </a:lnTo>
                  <a:lnTo>
                    <a:pt x="225" y="23"/>
                  </a:lnTo>
                  <a:lnTo>
                    <a:pt x="213" y="28"/>
                  </a:lnTo>
                  <a:lnTo>
                    <a:pt x="196" y="11"/>
                  </a:lnTo>
                  <a:lnTo>
                    <a:pt x="181" y="17"/>
                  </a:lnTo>
                  <a:lnTo>
                    <a:pt x="156" y="15"/>
                  </a:lnTo>
                  <a:lnTo>
                    <a:pt x="150" y="7"/>
                  </a:lnTo>
                  <a:lnTo>
                    <a:pt x="125" y="7"/>
                  </a:lnTo>
                  <a:lnTo>
                    <a:pt x="113" y="0"/>
                  </a:lnTo>
                  <a:lnTo>
                    <a:pt x="86" y="5"/>
                  </a:lnTo>
                  <a:lnTo>
                    <a:pt x="71" y="40"/>
                  </a:lnTo>
                  <a:lnTo>
                    <a:pt x="71" y="63"/>
                  </a:lnTo>
                  <a:lnTo>
                    <a:pt x="52" y="67"/>
                  </a:lnTo>
                  <a:lnTo>
                    <a:pt x="29" y="84"/>
                  </a:lnTo>
                  <a:lnTo>
                    <a:pt x="27" y="96"/>
                  </a:lnTo>
                  <a:lnTo>
                    <a:pt x="6" y="113"/>
                  </a:lnTo>
                  <a:lnTo>
                    <a:pt x="2" y="115"/>
                  </a:lnTo>
                  <a:lnTo>
                    <a:pt x="0" y="134"/>
                  </a:lnTo>
                  <a:lnTo>
                    <a:pt x="0" y="151"/>
                  </a:lnTo>
                  <a:lnTo>
                    <a:pt x="8" y="155"/>
                  </a:lnTo>
                  <a:lnTo>
                    <a:pt x="8" y="173"/>
                  </a:lnTo>
                  <a:lnTo>
                    <a:pt x="19" y="198"/>
                  </a:lnTo>
                  <a:lnTo>
                    <a:pt x="19" y="205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8" name="Freeform 55"/>
            <p:cNvSpPr>
              <a:spLocks/>
            </p:cNvSpPr>
            <p:nvPr/>
          </p:nvSpPr>
          <p:spPr bwMode="auto">
            <a:xfrm>
              <a:off x="3073" y="3349"/>
              <a:ext cx="715" cy="802"/>
            </a:xfrm>
            <a:custGeom>
              <a:avLst/>
              <a:gdLst>
                <a:gd name="T0" fmla="*/ 130 w 343"/>
                <a:gd name="T1" fmla="*/ 6 h 385"/>
                <a:gd name="T2" fmla="*/ 122 w 343"/>
                <a:gd name="T3" fmla="*/ 28 h 385"/>
                <a:gd name="T4" fmla="*/ 130 w 343"/>
                <a:gd name="T5" fmla="*/ 52 h 385"/>
                <a:gd name="T6" fmla="*/ 125 w 343"/>
                <a:gd name="T7" fmla="*/ 69 h 385"/>
                <a:gd name="T8" fmla="*/ 112 w 343"/>
                <a:gd name="T9" fmla="*/ 91 h 385"/>
                <a:gd name="T10" fmla="*/ 121 w 343"/>
                <a:gd name="T11" fmla="*/ 120 h 385"/>
                <a:gd name="T12" fmla="*/ 126 w 343"/>
                <a:gd name="T13" fmla="*/ 134 h 385"/>
                <a:gd name="T14" fmla="*/ 135 w 343"/>
                <a:gd name="T15" fmla="*/ 155 h 385"/>
                <a:gd name="T16" fmla="*/ 117 w 343"/>
                <a:gd name="T17" fmla="*/ 166 h 385"/>
                <a:gd name="T18" fmla="*/ 101 w 343"/>
                <a:gd name="T19" fmla="*/ 156 h 385"/>
                <a:gd name="T20" fmla="*/ 93 w 343"/>
                <a:gd name="T21" fmla="*/ 172 h 385"/>
                <a:gd name="T22" fmla="*/ 76 w 343"/>
                <a:gd name="T23" fmla="*/ 211 h 385"/>
                <a:gd name="T24" fmla="*/ 61 w 343"/>
                <a:gd name="T25" fmla="*/ 202 h 385"/>
                <a:gd name="T26" fmla="*/ 47 w 343"/>
                <a:gd name="T27" fmla="*/ 209 h 385"/>
                <a:gd name="T28" fmla="*/ 28 w 343"/>
                <a:gd name="T29" fmla="*/ 221 h 385"/>
                <a:gd name="T30" fmla="*/ 30 w 343"/>
                <a:gd name="T31" fmla="*/ 240 h 385"/>
                <a:gd name="T32" fmla="*/ 21 w 343"/>
                <a:gd name="T33" fmla="*/ 260 h 385"/>
                <a:gd name="T34" fmla="*/ 19 w 343"/>
                <a:gd name="T35" fmla="*/ 279 h 385"/>
                <a:gd name="T36" fmla="*/ 16 w 343"/>
                <a:gd name="T37" fmla="*/ 301 h 385"/>
                <a:gd name="T38" fmla="*/ 4 w 343"/>
                <a:gd name="T39" fmla="*/ 310 h 385"/>
                <a:gd name="T40" fmla="*/ 21 w 343"/>
                <a:gd name="T41" fmla="*/ 331 h 385"/>
                <a:gd name="T42" fmla="*/ 50 w 343"/>
                <a:gd name="T43" fmla="*/ 343 h 385"/>
                <a:gd name="T44" fmla="*/ 81 w 343"/>
                <a:gd name="T45" fmla="*/ 335 h 385"/>
                <a:gd name="T46" fmla="*/ 94 w 343"/>
                <a:gd name="T47" fmla="*/ 348 h 385"/>
                <a:gd name="T48" fmla="*/ 125 w 343"/>
                <a:gd name="T49" fmla="*/ 359 h 385"/>
                <a:gd name="T50" fmla="*/ 146 w 343"/>
                <a:gd name="T51" fmla="*/ 378 h 385"/>
                <a:gd name="T52" fmla="*/ 165 w 343"/>
                <a:gd name="T53" fmla="*/ 380 h 385"/>
                <a:gd name="T54" fmla="*/ 188 w 343"/>
                <a:gd name="T55" fmla="*/ 351 h 385"/>
                <a:gd name="T56" fmla="*/ 219 w 343"/>
                <a:gd name="T57" fmla="*/ 286 h 385"/>
                <a:gd name="T58" fmla="*/ 210 w 343"/>
                <a:gd name="T59" fmla="*/ 235 h 385"/>
                <a:gd name="T60" fmla="*/ 204 w 343"/>
                <a:gd name="T61" fmla="*/ 208 h 385"/>
                <a:gd name="T62" fmla="*/ 220 w 343"/>
                <a:gd name="T63" fmla="*/ 196 h 385"/>
                <a:gd name="T64" fmla="*/ 240 w 343"/>
                <a:gd name="T65" fmla="*/ 194 h 385"/>
                <a:gd name="T66" fmla="*/ 246 w 343"/>
                <a:gd name="T67" fmla="*/ 189 h 385"/>
                <a:gd name="T68" fmla="*/ 264 w 343"/>
                <a:gd name="T69" fmla="*/ 189 h 385"/>
                <a:gd name="T70" fmla="*/ 284 w 343"/>
                <a:gd name="T71" fmla="*/ 188 h 385"/>
                <a:gd name="T72" fmla="*/ 294 w 343"/>
                <a:gd name="T73" fmla="*/ 170 h 385"/>
                <a:gd name="T74" fmla="*/ 315 w 343"/>
                <a:gd name="T75" fmla="*/ 161 h 385"/>
                <a:gd name="T76" fmla="*/ 319 w 343"/>
                <a:gd name="T77" fmla="*/ 165 h 385"/>
                <a:gd name="T78" fmla="*/ 337 w 343"/>
                <a:gd name="T79" fmla="*/ 152 h 385"/>
                <a:gd name="T80" fmla="*/ 318 w 343"/>
                <a:gd name="T81" fmla="*/ 136 h 385"/>
                <a:gd name="T82" fmla="*/ 320 w 343"/>
                <a:gd name="T83" fmla="*/ 126 h 385"/>
                <a:gd name="T84" fmla="*/ 331 w 343"/>
                <a:gd name="T85" fmla="*/ 116 h 385"/>
                <a:gd name="T86" fmla="*/ 343 w 343"/>
                <a:gd name="T87" fmla="*/ 109 h 385"/>
                <a:gd name="T88" fmla="*/ 326 w 343"/>
                <a:gd name="T89" fmla="*/ 93 h 385"/>
                <a:gd name="T90" fmla="*/ 312 w 343"/>
                <a:gd name="T91" fmla="*/ 81 h 385"/>
                <a:gd name="T92" fmla="*/ 298 w 343"/>
                <a:gd name="T93" fmla="*/ 82 h 385"/>
                <a:gd name="T94" fmla="*/ 282 w 343"/>
                <a:gd name="T95" fmla="*/ 70 h 385"/>
                <a:gd name="T96" fmla="*/ 260 w 343"/>
                <a:gd name="T97" fmla="*/ 82 h 385"/>
                <a:gd name="T98" fmla="*/ 255 w 343"/>
                <a:gd name="T99" fmla="*/ 98 h 385"/>
                <a:gd name="T100" fmla="*/ 242 w 343"/>
                <a:gd name="T101" fmla="*/ 123 h 385"/>
                <a:gd name="T102" fmla="*/ 237 w 343"/>
                <a:gd name="T103" fmla="*/ 120 h 385"/>
                <a:gd name="T104" fmla="*/ 224 w 343"/>
                <a:gd name="T105" fmla="*/ 124 h 385"/>
                <a:gd name="T106" fmla="*/ 199 w 343"/>
                <a:gd name="T107" fmla="*/ 139 h 385"/>
                <a:gd name="T108" fmla="*/ 191 w 343"/>
                <a:gd name="T109" fmla="*/ 91 h 385"/>
                <a:gd name="T110" fmla="*/ 181 w 343"/>
                <a:gd name="T111" fmla="*/ 68 h 385"/>
                <a:gd name="T112" fmla="*/ 175 w 343"/>
                <a:gd name="T113" fmla="*/ 56 h 385"/>
                <a:gd name="T114" fmla="*/ 173 w 343"/>
                <a:gd name="T115" fmla="*/ 44 h 385"/>
                <a:gd name="T116" fmla="*/ 163 w 343"/>
                <a:gd name="T117" fmla="*/ 28 h 385"/>
                <a:gd name="T118" fmla="*/ 144 w 343"/>
                <a:gd name="T119" fmla="*/ 16 h 385"/>
                <a:gd name="T120" fmla="*/ 143 w 343"/>
                <a:gd name="T121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3" h="385">
                  <a:moveTo>
                    <a:pt x="143" y="0"/>
                  </a:moveTo>
                  <a:cubicBezTo>
                    <a:pt x="136" y="5"/>
                    <a:pt x="136" y="5"/>
                    <a:pt x="136" y="5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20" y="13"/>
                    <a:pt x="120" y="13"/>
                    <a:pt x="120" y="13"/>
                  </a:cubicBezTo>
                  <a:cubicBezTo>
                    <a:pt x="119" y="21"/>
                    <a:pt x="119" y="21"/>
                    <a:pt x="119" y="21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30" y="52"/>
                    <a:pt x="130" y="52"/>
                    <a:pt x="130" y="52"/>
                  </a:cubicBezTo>
                  <a:cubicBezTo>
                    <a:pt x="128" y="57"/>
                    <a:pt x="128" y="57"/>
                    <a:pt x="128" y="57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25" y="69"/>
                    <a:pt x="125" y="69"/>
                    <a:pt x="125" y="69"/>
                  </a:cubicBezTo>
                  <a:cubicBezTo>
                    <a:pt x="125" y="79"/>
                    <a:pt x="125" y="79"/>
                    <a:pt x="125" y="79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21" y="120"/>
                    <a:pt x="121" y="120"/>
                    <a:pt x="121" y="120"/>
                  </a:cubicBezTo>
                  <a:cubicBezTo>
                    <a:pt x="127" y="119"/>
                    <a:pt x="127" y="119"/>
                    <a:pt x="127" y="119"/>
                  </a:cubicBezTo>
                  <a:cubicBezTo>
                    <a:pt x="131" y="132"/>
                    <a:pt x="131" y="132"/>
                    <a:pt x="131" y="132"/>
                  </a:cubicBezTo>
                  <a:cubicBezTo>
                    <a:pt x="126" y="134"/>
                    <a:pt x="126" y="134"/>
                    <a:pt x="126" y="134"/>
                  </a:cubicBezTo>
                  <a:cubicBezTo>
                    <a:pt x="126" y="141"/>
                    <a:pt x="126" y="141"/>
                    <a:pt x="126" y="141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5" y="155"/>
                    <a:pt x="135" y="155"/>
                    <a:pt x="135" y="155"/>
                  </a:cubicBezTo>
                  <a:cubicBezTo>
                    <a:pt x="129" y="161"/>
                    <a:pt x="129" y="161"/>
                    <a:pt x="129" y="161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06" y="162"/>
                    <a:pt x="106" y="162"/>
                    <a:pt x="106" y="162"/>
                  </a:cubicBezTo>
                  <a:cubicBezTo>
                    <a:pt x="101" y="156"/>
                    <a:pt x="101" y="156"/>
                    <a:pt x="101" y="156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1" y="163"/>
                    <a:pt x="91" y="163"/>
                    <a:pt x="91" y="163"/>
                  </a:cubicBezTo>
                  <a:cubicBezTo>
                    <a:pt x="93" y="172"/>
                    <a:pt x="93" y="172"/>
                    <a:pt x="93" y="172"/>
                  </a:cubicBezTo>
                  <a:cubicBezTo>
                    <a:pt x="77" y="191"/>
                    <a:pt x="77" y="191"/>
                    <a:pt x="77" y="191"/>
                  </a:cubicBezTo>
                  <a:cubicBezTo>
                    <a:pt x="73" y="205"/>
                    <a:pt x="73" y="205"/>
                    <a:pt x="73" y="205"/>
                  </a:cubicBezTo>
                  <a:cubicBezTo>
                    <a:pt x="76" y="211"/>
                    <a:pt x="76" y="211"/>
                    <a:pt x="76" y="211"/>
                  </a:cubicBezTo>
                  <a:cubicBezTo>
                    <a:pt x="74" y="216"/>
                    <a:pt x="74" y="216"/>
                    <a:pt x="74" y="216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1" y="202"/>
                    <a:pt x="61" y="202"/>
                    <a:pt x="61" y="202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3" y="201"/>
                    <a:pt x="53" y="201"/>
                    <a:pt x="53" y="201"/>
                  </a:cubicBezTo>
                  <a:cubicBezTo>
                    <a:pt x="47" y="209"/>
                    <a:pt x="47" y="209"/>
                    <a:pt x="47" y="209"/>
                  </a:cubicBezTo>
                  <a:cubicBezTo>
                    <a:pt x="36" y="210"/>
                    <a:pt x="36" y="210"/>
                    <a:pt x="36" y="210"/>
                  </a:cubicBezTo>
                  <a:cubicBezTo>
                    <a:pt x="29" y="211"/>
                    <a:pt x="29" y="211"/>
                    <a:pt x="29" y="211"/>
                  </a:cubicBezTo>
                  <a:cubicBezTo>
                    <a:pt x="28" y="221"/>
                    <a:pt x="28" y="221"/>
                    <a:pt x="28" y="221"/>
                  </a:cubicBezTo>
                  <a:cubicBezTo>
                    <a:pt x="23" y="225"/>
                    <a:pt x="23" y="225"/>
                    <a:pt x="23" y="225"/>
                  </a:cubicBezTo>
                  <a:cubicBezTo>
                    <a:pt x="24" y="232"/>
                    <a:pt x="24" y="232"/>
                    <a:pt x="24" y="232"/>
                  </a:cubicBezTo>
                  <a:cubicBezTo>
                    <a:pt x="30" y="240"/>
                    <a:pt x="30" y="240"/>
                    <a:pt x="30" y="240"/>
                  </a:cubicBezTo>
                  <a:cubicBezTo>
                    <a:pt x="32" y="250"/>
                    <a:pt x="32" y="250"/>
                    <a:pt x="32" y="250"/>
                  </a:cubicBezTo>
                  <a:cubicBezTo>
                    <a:pt x="26" y="256"/>
                    <a:pt x="26" y="256"/>
                    <a:pt x="26" y="256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6" y="261"/>
                    <a:pt x="16" y="261"/>
                    <a:pt x="16" y="261"/>
                  </a:cubicBezTo>
                  <a:cubicBezTo>
                    <a:pt x="14" y="271"/>
                    <a:pt x="14" y="271"/>
                    <a:pt x="14" y="271"/>
                  </a:cubicBezTo>
                  <a:cubicBezTo>
                    <a:pt x="19" y="279"/>
                    <a:pt x="19" y="279"/>
                    <a:pt x="19" y="279"/>
                  </a:cubicBezTo>
                  <a:cubicBezTo>
                    <a:pt x="16" y="286"/>
                    <a:pt x="16" y="286"/>
                    <a:pt x="16" y="286"/>
                  </a:cubicBezTo>
                  <a:cubicBezTo>
                    <a:pt x="18" y="297"/>
                    <a:pt x="18" y="297"/>
                    <a:pt x="18" y="297"/>
                  </a:cubicBezTo>
                  <a:cubicBezTo>
                    <a:pt x="16" y="301"/>
                    <a:pt x="16" y="301"/>
                    <a:pt x="16" y="301"/>
                  </a:cubicBezTo>
                  <a:cubicBezTo>
                    <a:pt x="16" y="306"/>
                    <a:pt x="16" y="306"/>
                    <a:pt x="16" y="306"/>
                  </a:cubicBezTo>
                  <a:cubicBezTo>
                    <a:pt x="9" y="307"/>
                    <a:pt x="9" y="307"/>
                    <a:pt x="9" y="307"/>
                  </a:cubicBezTo>
                  <a:cubicBezTo>
                    <a:pt x="4" y="310"/>
                    <a:pt x="4" y="310"/>
                    <a:pt x="4" y="310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2" y="321"/>
                    <a:pt x="2" y="321"/>
                    <a:pt x="2" y="321"/>
                  </a:cubicBezTo>
                  <a:cubicBezTo>
                    <a:pt x="21" y="331"/>
                    <a:pt x="21" y="331"/>
                    <a:pt x="21" y="331"/>
                  </a:cubicBezTo>
                  <a:cubicBezTo>
                    <a:pt x="30" y="333"/>
                    <a:pt x="30" y="333"/>
                    <a:pt x="30" y="333"/>
                  </a:cubicBezTo>
                  <a:cubicBezTo>
                    <a:pt x="41" y="336"/>
                    <a:pt x="41" y="336"/>
                    <a:pt x="41" y="336"/>
                  </a:cubicBezTo>
                  <a:cubicBezTo>
                    <a:pt x="50" y="343"/>
                    <a:pt x="50" y="343"/>
                    <a:pt x="50" y="343"/>
                  </a:cubicBezTo>
                  <a:cubicBezTo>
                    <a:pt x="62" y="341"/>
                    <a:pt x="62" y="341"/>
                    <a:pt x="62" y="341"/>
                  </a:cubicBezTo>
                  <a:cubicBezTo>
                    <a:pt x="67" y="348"/>
                    <a:pt x="67" y="348"/>
                    <a:pt x="67" y="348"/>
                  </a:cubicBezTo>
                  <a:cubicBezTo>
                    <a:pt x="81" y="335"/>
                    <a:pt x="81" y="335"/>
                    <a:pt x="81" y="335"/>
                  </a:cubicBezTo>
                  <a:cubicBezTo>
                    <a:pt x="87" y="339"/>
                    <a:pt x="87" y="339"/>
                    <a:pt x="87" y="339"/>
                  </a:cubicBezTo>
                  <a:cubicBezTo>
                    <a:pt x="86" y="342"/>
                    <a:pt x="86" y="342"/>
                    <a:pt x="86" y="342"/>
                  </a:cubicBezTo>
                  <a:cubicBezTo>
                    <a:pt x="94" y="348"/>
                    <a:pt x="94" y="348"/>
                    <a:pt x="94" y="348"/>
                  </a:cubicBezTo>
                  <a:cubicBezTo>
                    <a:pt x="103" y="349"/>
                    <a:pt x="103" y="349"/>
                    <a:pt x="103" y="349"/>
                  </a:cubicBezTo>
                  <a:cubicBezTo>
                    <a:pt x="118" y="361"/>
                    <a:pt x="118" y="361"/>
                    <a:pt x="118" y="361"/>
                  </a:cubicBezTo>
                  <a:cubicBezTo>
                    <a:pt x="125" y="359"/>
                    <a:pt x="125" y="359"/>
                    <a:pt x="125" y="359"/>
                  </a:cubicBezTo>
                  <a:cubicBezTo>
                    <a:pt x="135" y="368"/>
                    <a:pt x="135" y="368"/>
                    <a:pt x="135" y="368"/>
                  </a:cubicBezTo>
                  <a:cubicBezTo>
                    <a:pt x="143" y="367"/>
                    <a:pt x="143" y="367"/>
                    <a:pt x="143" y="367"/>
                  </a:cubicBezTo>
                  <a:cubicBezTo>
                    <a:pt x="146" y="378"/>
                    <a:pt x="146" y="378"/>
                    <a:pt x="146" y="378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60" y="385"/>
                    <a:pt x="160" y="385"/>
                    <a:pt x="160" y="385"/>
                  </a:cubicBezTo>
                  <a:cubicBezTo>
                    <a:pt x="165" y="380"/>
                    <a:pt x="165" y="380"/>
                    <a:pt x="165" y="380"/>
                  </a:cubicBezTo>
                  <a:cubicBezTo>
                    <a:pt x="170" y="380"/>
                    <a:pt x="170" y="380"/>
                    <a:pt x="170" y="380"/>
                  </a:cubicBezTo>
                  <a:cubicBezTo>
                    <a:pt x="171" y="369"/>
                    <a:pt x="171" y="369"/>
                    <a:pt x="171" y="369"/>
                  </a:cubicBezTo>
                  <a:cubicBezTo>
                    <a:pt x="188" y="351"/>
                    <a:pt x="188" y="351"/>
                    <a:pt x="188" y="351"/>
                  </a:cubicBezTo>
                  <a:cubicBezTo>
                    <a:pt x="191" y="341"/>
                    <a:pt x="191" y="341"/>
                    <a:pt x="191" y="341"/>
                  </a:cubicBezTo>
                  <a:cubicBezTo>
                    <a:pt x="217" y="313"/>
                    <a:pt x="217" y="313"/>
                    <a:pt x="217" y="313"/>
                  </a:cubicBezTo>
                  <a:cubicBezTo>
                    <a:pt x="219" y="286"/>
                    <a:pt x="219" y="286"/>
                    <a:pt x="219" y="286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15" y="267"/>
                    <a:pt x="215" y="267"/>
                    <a:pt x="215" y="267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6" y="226"/>
                    <a:pt x="216" y="226"/>
                    <a:pt x="216" y="226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4" y="208"/>
                    <a:pt x="204" y="208"/>
                    <a:pt x="204" y="208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9" y="205"/>
                    <a:pt x="219" y="205"/>
                    <a:pt x="219" y="205"/>
                  </a:cubicBezTo>
                  <a:cubicBezTo>
                    <a:pt x="220" y="196"/>
                    <a:pt x="220" y="196"/>
                    <a:pt x="220" y="196"/>
                  </a:cubicBezTo>
                  <a:cubicBezTo>
                    <a:pt x="224" y="195"/>
                    <a:pt x="224" y="195"/>
                    <a:pt x="224" y="195"/>
                  </a:cubicBezTo>
                  <a:cubicBezTo>
                    <a:pt x="232" y="197"/>
                    <a:pt x="232" y="197"/>
                    <a:pt x="232" y="197"/>
                  </a:cubicBezTo>
                  <a:cubicBezTo>
                    <a:pt x="240" y="194"/>
                    <a:pt x="240" y="194"/>
                    <a:pt x="240" y="194"/>
                  </a:cubicBezTo>
                  <a:cubicBezTo>
                    <a:pt x="239" y="188"/>
                    <a:pt x="239" y="188"/>
                    <a:pt x="239" y="188"/>
                  </a:cubicBezTo>
                  <a:cubicBezTo>
                    <a:pt x="244" y="182"/>
                    <a:pt x="244" y="182"/>
                    <a:pt x="244" y="182"/>
                  </a:cubicBezTo>
                  <a:cubicBezTo>
                    <a:pt x="246" y="189"/>
                    <a:pt x="246" y="189"/>
                    <a:pt x="246" y="189"/>
                  </a:cubicBezTo>
                  <a:cubicBezTo>
                    <a:pt x="256" y="189"/>
                    <a:pt x="256" y="189"/>
                    <a:pt x="256" y="189"/>
                  </a:cubicBezTo>
                  <a:cubicBezTo>
                    <a:pt x="261" y="184"/>
                    <a:pt x="261" y="184"/>
                    <a:pt x="261" y="184"/>
                  </a:cubicBezTo>
                  <a:cubicBezTo>
                    <a:pt x="264" y="189"/>
                    <a:pt x="264" y="189"/>
                    <a:pt x="264" y="189"/>
                  </a:cubicBezTo>
                  <a:cubicBezTo>
                    <a:pt x="274" y="189"/>
                    <a:pt x="274" y="189"/>
                    <a:pt x="274" y="189"/>
                  </a:cubicBezTo>
                  <a:cubicBezTo>
                    <a:pt x="277" y="183"/>
                    <a:pt x="277" y="183"/>
                    <a:pt x="277" y="183"/>
                  </a:cubicBezTo>
                  <a:cubicBezTo>
                    <a:pt x="284" y="188"/>
                    <a:pt x="284" y="188"/>
                    <a:pt x="284" y="188"/>
                  </a:cubicBezTo>
                  <a:cubicBezTo>
                    <a:pt x="290" y="182"/>
                    <a:pt x="290" y="182"/>
                    <a:pt x="290" y="182"/>
                  </a:cubicBezTo>
                  <a:cubicBezTo>
                    <a:pt x="296" y="182"/>
                    <a:pt x="296" y="182"/>
                    <a:pt x="296" y="182"/>
                  </a:cubicBezTo>
                  <a:cubicBezTo>
                    <a:pt x="294" y="170"/>
                    <a:pt x="294" y="170"/>
                    <a:pt x="294" y="170"/>
                  </a:cubicBezTo>
                  <a:cubicBezTo>
                    <a:pt x="302" y="163"/>
                    <a:pt x="302" y="163"/>
                    <a:pt x="302" y="163"/>
                  </a:cubicBezTo>
                  <a:cubicBezTo>
                    <a:pt x="307" y="157"/>
                    <a:pt x="307" y="157"/>
                    <a:pt x="307" y="157"/>
                  </a:cubicBezTo>
                  <a:cubicBezTo>
                    <a:pt x="315" y="161"/>
                    <a:pt x="315" y="161"/>
                    <a:pt x="315" y="161"/>
                  </a:cubicBezTo>
                  <a:cubicBezTo>
                    <a:pt x="308" y="168"/>
                    <a:pt x="308" y="168"/>
                    <a:pt x="308" y="168"/>
                  </a:cubicBezTo>
                  <a:cubicBezTo>
                    <a:pt x="312" y="168"/>
                    <a:pt x="312" y="168"/>
                    <a:pt x="312" y="168"/>
                  </a:cubicBezTo>
                  <a:cubicBezTo>
                    <a:pt x="319" y="165"/>
                    <a:pt x="319" y="165"/>
                    <a:pt x="319" y="165"/>
                  </a:cubicBezTo>
                  <a:cubicBezTo>
                    <a:pt x="326" y="168"/>
                    <a:pt x="326" y="168"/>
                    <a:pt x="326" y="168"/>
                  </a:cubicBezTo>
                  <a:cubicBezTo>
                    <a:pt x="335" y="156"/>
                    <a:pt x="335" y="156"/>
                    <a:pt x="335" y="156"/>
                  </a:cubicBezTo>
                  <a:cubicBezTo>
                    <a:pt x="337" y="152"/>
                    <a:pt x="337" y="152"/>
                    <a:pt x="337" y="152"/>
                  </a:cubicBezTo>
                  <a:cubicBezTo>
                    <a:pt x="334" y="146"/>
                    <a:pt x="334" y="146"/>
                    <a:pt x="334" y="146"/>
                  </a:cubicBezTo>
                  <a:cubicBezTo>
                    <a:pt x="328" y="149"/>
                    <a:pt x="328" y="149"/>
                    <a:pt x="328" y="149"/>
                  </a:cubicBezTo>
                  <a:cubicBezTo>
                    <a:pt x="318" y="136"/>
                    <a:pt x="318" y="136"/>
                    <a:pt x="318" y="136"/>
                  </a:cubicBezTo>
                  <a:cubicBezTo>
                    <a:pt x="321" y="132"/>
                    <a:pt x="321" y="132"/>
                    <a:pt x="321" y="132"/>
                  </a:cubicBezTo>
                  <a:cubicBezTo>
                    <a:pt x="317" y="128"/>
                    <a:pt x="317" y="128"/>
                    <a:pt x="317" y="128"/>
                  </a:cubicBezTo>
                  <a:cubicBezTo>
                    <a:pt x="320" y="126"/>
                    <a:pt x="320" y="126"/>
                    <a:pt x="320" y="126"/>
                  </a:cubicBezTo>
                  <a:cubicBezTo>
                    <a:pt x="319" y="118"/>
                    <a:pt x="319" y="118"/>
                    <a:pt x="319" y="118"/>
                  </a:cubicBezTo>
                  <a:cubicBezTo>
                    <a:pt x="326" y="113"/>
                    <a:pt x="326" y="113"/>
                    <a:pt x="326" y="113"/>
                  </a:cubicBezTo>
                  <a:cubicBezTo>
                    <a:pt x="331" y="116"/>
                    <a:pt x="331" y="116"/>
                    <a:pt x="331" y="116"/>
                  </a:cubicBezTo>
                  <a:cubicBezTo>
                    <a:pt x="336" y="117"/>
                    <a:pt x="336" y="117"/>
                    <a:pt x="336" y="117"/>
                  </a:cubicBezTo>
                  <a:cubicBezTo>
                    <a:pt x="342" y="115"/>
                    <a:pt x="342" y="115"/>
                    <a:pt x="342" y="115"/>
                  </a:cubicBezTo>
                  <a:cubicBezTo>
                    <a:pt x="343" y="109"/>
                    <a:pt x="343" y="109"/>
                    <a:pt x="343" y="109"/>
                  </a:cubicBezTo>
                  <a:cubicBezTo>
                    <a:pt x="331" y="96"/>
                    <a:pt x="331" y="96"/>
                    <a:pt x="331" y="96"/>
                  </a:cubicBezTo>
                  <a:cubicBezTo>
                    <a:pt x="330" y="93"/>
                    <a:pt x="330" y="93"/>
                    <a:pt x="330" y="93"/>
                  </a:cubicBezTo>
                  <a:cubicBezTo>
                    <a:pt x="326" y="93"/>
                    <a:pt x="326" y="93"/>
                    <a:pt x="326" y="93"/>
                  </a:cubicBezTo>
                  <a:cubicBezTo>
                    <a:pt x="326" y="87"/>
                    <a:pt x="326" y="87"/>
                    <a:pt x="326" y="87"/>
                  </a:cubicBezTo>
                  <a:cubicBezTo>
                    <a:pt x="316" y="77"/>
                    <a:pt x="316" y="77"/>
                    <a:pt x="316" y="77"/>
                  </a:cubicBezTo>
                  <a:cubicBezTo>
                    <a:pt x="312" y="81"/>
                    <a:pt x="312" y="81"/>
                    <a:pt x="312" y="81"/>
                  </a:cubicBezTo>
                  <a:cubicBezTo>
                    <a:pt x="309" y="85"/>
                    <a:pt x="309" y="85"/>
                    <a:pt x="309" y="85"/>
                  </a:cubicBezTo>
                  <a:cubicBezTo>
                    <a:pt x="303" y="88"/>
                    <a:pt x="303" y="88"/>
                    <a:pt x="303" y="88"/>
                  </a:cubicBezTo>
                  <a:cubicBezTo>
                    <a:pt x="298" y="82"/>
                    <a:pt x="298" y="82"/>
                    <a:pt x="298" y="82"/>
                  </a:cubicBezTo>
                  <a:cubicBezTo>
                    <a:pt x="297" y="76"/>
                    <a:pt x="297" y="76"/>
                    <a:pt x="297" y="76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3"/>
                    <a:pt x="282" y="70"/>
                    <a:pt x="282" y="70"/>
                  </a:cubicBezTo>
                  <a:cubicBezTo>
                    <a:pt x="281" y="70"/>
                    <a:pt x="267" y="70"/>
                    <a:pt x="267" y="70"/>
                  </a:cubicBezTo>
                  <a:cubicBezTo>
                    <a:pt x="262" y="76"/>
                    <a:pt x="262" y="76"/>
                    <a:pt x="262" y="76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56" y="85"/>
                    <a:pt x="256" y="85"/>
                    <a:pt x="256" y="85"/>
                  </a:cubicBezTo>
                  <a:cubicBezTo>
                    <a:pt x="261" y="92"/>
                    <a:pt x="261" y="92"/>
                    <a:pt x="261" y="92"/>
                  </a:cubicBezTo>
                  <a:cubicBezTo>
                    <a:pt x="255" y="98"/>
                    <a:pt x="255" y="98"/>
                    <a:pt x="255" y="98"/>
                  </a:cubicBezTo>
                  <a:cubicBezTo>
                    <a:pt x="250" y="106"/>
                    <a:pt x="250" y="106"/>
                    <a:pt x="250" y="106"/>
                  </a:cubicBezTo>
                  <a:cubicBezTo>
                    <a:pt x="251" y="118"/>
                    <a:pt x="251" y="118"/>
                    <a:pt x="251" y="118"/>
                  </a:cubicBezTo>
                  <a:cubicBezTo>
                    <a:pt x="242" y="123"/>
                    <a:pt x="242" y="123"/>
                    <a:pt x="242" y="123"/>
                  </a:cubicBezTo>
                  <a:cubicBezTo>
                    <a:pt x="242" y="131"/>
                    <a:pt x="242" y="131"/>
                    <a:pt x="242" y="131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0"/>
                    <a:pt x="237" y="120"/>
                    <a:pt x="237" y="120"/>
                  </a:cubicBezTo>
                  <a:cubicBezTo>
                    <a:pt x="234" y="117"/>
                    <a:pt x="234" y="117"/>
                    <a:pt x="234" y="117"/>
                  </a:cubicBezTo>
                  <a:cubicBezTo>
                    <a:pt x="229" y="122"/>
                    <a:pt x="229" y="122"/>
                    <a:pt x="229" y="122"/>
                  </a:cubicBezTo>
                  <a:cubicBezTo>
                    <a:pt x="224" y="124"/>
                    <a:pt x="224" y="124"/>
                    <a:pt x="224" y="124"/>
                  </a:cubicBezTo>
                  <a:cubicBezTo>
                    <a:pt x="214" y="127"/>
                    <a:pt x="214" y="127"/>
                    <a:pt x="214" y="127"/>
                  </a:cubicBezTo>
                  <a:cubicBezTo>
                    <a:pt x="207" y="138"/>
                    <a:pt x="207" y="138"/>
                    <a:pt x="207" y="138"/>
                  </a:cubicBezTo>
                  <a:cubicBezTo>
                    <a:pt x="199" y="139"/>
                    <a:pt x="199" y="139"/>
                    <a:pt x="199" y="139"/>
                  </a:cubicBezTo>
                  <a:cubicBezTo>
                    <a:pt x="190" y="131"/>
                    <a:pt x="190" y="131"/>
                    <a:pt x="190" y="131"/>
                  </a:cubicBezTo>
                  <a:cubicBezTo>
                    <a:pt x="190" y="103"/>
                    <a:pt x="190" y="103"/>
                    <a:pt x="190" y="103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2" y="79"/>
                    <a:pt x="192" y="79"/>
                    <a:pt x="192" y="79"/>
                  </a:cubicBezTo>
                  <a:cubicBezTo>
                    <a:pt x="182" y="73"/>
                    <a:pt x="182" y="73"/>
                    <a:pt x="182" y="73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8" y="63"/>
                    <a:pt x="178" y="63"/>
                    <a:pt x="178" y="63"/>
                  </a:cubicBezTo>
                  <a:cubicBezTo>
                    <a:pt x="175" y="61"/>
                    <a:pt x="175" y="61"/>
                    <a:pt x="175" y="61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47"/>
                    <a:pt x="178" y="47"/>
                    <a:pt x="178" y="47"/>
                  </a:cubicBezTo>
                  <a:cubicBezTo>
                    <a:pt x="173" y="44"/>
                    <a:pt x="173" y="44"/>
                    <a:pt x="173" y="44"/>
                  </a:cubicBezTo>
                  <a:cubicBezTo>
                    <a:pt x="164" y="41"/>
                    <a:pt x="164" y="41"/>
                    <a:pt x="164" y="41"/>
                  </a:cubicBezTo>
                  <a:cubicBezTo>
                    <a:pt x="166" y="34"/>
                    <a:pt x="166" y="34"/>
                    <a:pt x="166" y="34"/>
                  </a:cubicBezTo>
                  <a:cubicBezTo>
                    <a:pt x="163" y="28"/>
                    <a:pt x="163" y="28"/>
                    <a:pt x="163" y="28"/>
                  </a:cubicBezTo>
                  <a:cubicBezTo>
                    <a:pt x="159" y="20"/>
                    <a:pt x="159" y="20"/>
                    <a:pt x="159" y="20"/>
                  </a:cubicBezTo>
                  <a:cubicBezTo>
                    <a:pt x="154" y="14"/>
                    <a:pt x="154" y="14"/>
                    <a:pt x="154" y="14"/>
                  </a:cubicBezTo>
                  <a:cubicBezTo>
                    <a:pt x="144" y="16"/>
                    <a:pt x="144" y="16"/>
                    <a:pt x="144" y="16"/>
                  </a:cubicBezTo>
                  <a:cubicBezTo>
                    <a:pt x="141" y="10"/>
                    <a:pt x="141" y="10"/>
                    <a:pt x="141" y="10"/>
                  </a:cubicBezTo>
                  <a:cubicBezTo>
                    <a:pt x="148" y="6"/>
                    <a:pt x="148" y="6"/>
                    <a:pt x="148" y="6"/>
                  </a:cubicBezTo>
                  <a:lnTo>
                    <a:pt x="143" y="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9" name="Freeform 56"/>
            <p:cNvSpPr>
              <a:spLocks/>
            </p:cNvSpPr>
            <p:nvPr/>
          </p:nvSpPr>
          <p:spPr bwMode="auto">
            <a:xfrm>
              <a:off x="2202" y="3678"/>
              <a:ext cx="215" cy="315"/>
            </a:xfrm>
            <a:custGeom>
              <a:avLst/>
              <a:gdLst>
                <a:gd name="T0" fmla="*/ 94 w 103"/>
                <a:gd name="T1" fmla="*/ 19 h 151"/>
                <a:gd name="T2" fmla="*/ 98 w 103"/>
                <a:gd name="T3" fmla="*/ 29 h 151"/>
                <a:gd name="T4" fmla="*/ 103 w 103"/>
                <a:gd name="T5" fmla="*/ 50 h 151"/>
                <a:gd name="T6" fmla="*/ 98 w 103"/>
                <a:gd name="T7" fmla="*/ 72 h 151"/>
                <a:gd name="T8" fmla="*/ 89 w 103"/>
                <a:gd name="T9" fmla="*/ 86 h 151"/>
                <a:gd name="T10" fmla="*/ 77 w 103"/>
                <a:gd name="T11" fmla="*/ 103 h 151"/>
                <a:gd name="T12" fmla="*/ 81 w 103"/>
                <a:gd name="T13" fmla="*/ 126 h 151"/>
                <a:gd name="T14" fmla="*/ 76 w 103"/>
                <a:gd name="T15" fmla="*/ 139 h 151"/>
                <a:gd name="T16" fmla="*/ 65 w 103"/>
                <a:gd name="T17" fmla="*/ 146 h 151"/>
                <a:gd name="T18" fmla="*/ 49 w 103"/>
                <a:gd name="T19" fmla="*/ 149 h 151"/>
                <a:gd name="T20" fmla="*/ 35 w 103"/>
                <a:gd name="T21" fmla="*/ 147 h 151"/>
                <a:gd name="T22" fmla="*/ 40 w 103"/>
                <a:gd name="T23" fmla="*/ 136 h 151"/>
                <a:gd name="T24" fmla="*/ 26 w 103"/>
                <a:gd name="T25" fmla="*/ 132 h 151"/>
                <a:gd name="T26" fmla="*/ 18 w 103"/>
                <a:gd name="T27" fmla="*/ 121 h 151"/>
                <a:gd name="T28" fmla="*/ 2 w 103"/>
                <a:gd name="T29" fmla="*/ 117 h 151"/>
                <a:gd name="T30" fmla="*/ 7 w 103"/>
                <a:gd name="T31" fmla="*/ 104 h 151"/>
                <a:gd name="T32" fmla="*/ 5 w 103"/>
                <a:gd name="T33" fmla="*/ 89 h 151"/>
                <a:gd name="T34" fmla="*/ 1 w 103"/>
                <a:gd name="T35" fmla="*/ 81 h 151"/>
                <a:gd name="T36" fmla="*/ 6 w 103"/>
                <a:gd name="T37" fmla="*/ 72 h 151"/>
                <a:gd name="T38" fmla="*/ 14 w 103"/>
                <a:gd name="T39" fmla="*/ 66 h 151"/>
                <a:gd name="T40" fmla="*/ 22 w 103"/>
                <a:gd name="T41" fmla="*/ 51 h 151"/>
                <a:gd name="T42" fmla="*/ 30 w 103"/>
                <a:gd name="T43" fmla="*/ 48 h 151"/>
                <a:gd name="T44" fmla="*/ 28 w 103"/>
                <a:gd name="T45" fmla="*/ 39 h 151"/>
                <a:gd name="T46" fmla="*/ 17 w 103"/>
                <a:gd name="T47" fmla="*/ 29 h 151"/>
                <a:gd name="T48" fmla="*/ 22 w 103"/>
                <a:gd name="T49" fmla="*/ 23 h 151"/>
                <a:gd name="T50" fmla="*/ 21 w 103"/>
                <a:gd name="T51" fmla="*/ 12 h 151"/>
                <a:gd name="T52" fmla="*/ 38 w 103"/>
                <a:gd name="T53" fmla="*/ 3 h 151"/>
                <a:gd name="T54" fmla="*/ 35 w 103"/>
                <a:gd name="T55" fmla="*/ 12 h 151"/>
                <a:gd name="T56" fmla="*/ 50 w 103"/>
                <a:gd name="T57" fmla="*/ 17 h 151"/>
                <a:gd name="T58" fmla="*/ 60 w 103"/>
                <a:gd name="T59" fmla="*/ 19 h 151"/>
                <a:gd name="T60" fmla="*/ 69 w 103"/>
                <a:gd name="T61" fmla="*/ 19 h 151"/>
                <a:gd name="T62" fmla="*/ 95 w 103"/>
                <a:gd name="T63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" h="151">
                  <a:moveTo>
                    <a:pt x="95" y="10"/>
                  </a:moveTo>
                  <a:cubicBezTo>
                    <a:pt x="94" y="19"/>
                    <a:pt x="94" y="19"/>
                    <a:pt x="94" y="19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8" y="120"/>
                    <a:pt x="78" y="120"/>
                    <a:pt x="78" y="120"/>
                  </a:cubicBezTo>
                  <a:cubicBezTo>
                    <a:pt x="81" y="126"/>
                    <a:pt x="81" y="126"/>
                    <a:pt x="81" y="126"/>
                  </a:cubicBezTo>
                  <a:cubicBezTo>
                    <a:pt x="77" y="134"/>
                    <a:pt x="77" y="134"/>
                    <a:pt x="77" y="134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74" y="139"/>
                    <a:pt x="72" y="140"/>
                    <a:pt x="71" y="141"/>
                  </a:cubicBezTo>
                  <a:cubicBezTo>
                    <a:pt x="69" y="144"/>
                    <a:pt x="65" y="146"/>
                    <a:pt x="65" y="146"/>
                  </a:cubicBezTo>
                  <a:cubicBezTo>
                    <a:pt x="64" y="146"/>
                    <a:pt x="58" y="146"/>
                    <a:pt x="56" y="149"/>
                  </a:cubicBezTo>
                  <a:cubicBezTo>
                    <a:pt x="53" y="151"/>
                    <a:pt x="49" y="151"/>
                    <a:pt x="49" y="149"/>
                  </a:cubicBezTo>
                  <a:cubicBezTo>
                    <a:pt x="48" y="147"/>
                    <a:pt x="45" y="146"/>
                    <a:pt x="43" y="148"/>
                  </a:cubicBezTo>
                  <a:cubicBezTo>
                    <a:pt x="41" y="150"/>
                    <a:pt x="36" y="149"/>
                    <a:pt x="35" y="147"/>
                  </a:cubicBezTo>
                  <a:cubicBezTo>
                    <a:pt x="35" y="145"/>
                    <a:pt x="33" y="143"/>
                    <a:pt x="35" y="141"/>
                  </a:cubicBezTo>
                  <a:cubicBezTo>
                    <a:pt x="36" y="139"/>
                    <a:pt x="40" y="136"/>
                    <a:pt x="40" y="136"/>
                  </a:cubicBezTo>
                  <a:cubicBezTo>
                    <a:pt x="40" y="136"/>
                    <a:pt x="35" y="133"/>
                    <a:pt x="33" y="131"/>
                  </a:cubicBezTo>
                  <a:cubicBezTo>
                    <a:pt x="31" y="129"/>
                    <a:pt x="28" y="130"/>
                    <a:pt x="26" y="132"/>
                  </a:cubicBezTo>
                  <a:cubicBezTo>
                    <a:pt x="23" y="134"/>
                    <a:pt x="23" y="126"/>
                    <a:pt x="23" y="124"/>
                  </a:cubicBezTo>
                  <a:cubicBezTo>
                    <a:pt x="23" y="122"/>
                    <a:pt x="20" y="118"/>
                    <a:pt x="18" y="121"/>
                  </a:cubicBezTo>
                  <a:cubicBezTo>
                    <a:pt x="16" y="124"/>
                    <a:pt x="9" y="123"/>
                    <a:pt x="9" y="122"/>
                  </a:cubicBezTo>
                  <a:cubicBezTo>
                    <a:pt x="8" y="120"/>
                    <a:pt x="4" y="120"/>
                    <a:pt x="2" y="117"/>
                  </a:cubicBezTo>
                  <a:cubicBezTo>
                    <a:pt x="0" y="115"/>
                    <a:pt x="3" y="115"/>
                    <a:pt x="4" y="112"/>
                  </a:cubicBezTo>
                  <a:cubicBezTo>
                    <a:pt x="6" y="110"/>
                    <a:pt x="7" y="108"/>
                    <a:pt x="7" y="104"/>
                  </a:cubicBezTo>
                  <a:cubicBezTo>
                    <a:pt x="8" y="101"/>
                    <a:pt x="6" y="99"/>
                    <a:pt x="7" y="97"/>
                  </a:cubicBezTo>
                  <a:cubicBezTo>
                    <a:pt x="8" y="95"/>
                    <a:pt x="6" y="92"/>
                    <a:pt x="5" y="89"/>
                  </a:cubicBezTo>
                  <a:cubicBezTo>
                    <a:pt x="5" y="88"/>
                    <a:pt x="3" y="86"/>
                    <a:pt x="1" y="86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4" y="66"/>
                    <a:pt x="14" y="66"/>
                    <a:pt x="14" y="66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83" y="20"/>
                    <a:pt x="83" y="20"/>
                    <a:pt x="83" y="20"/>
                  </a:cubicBezTo>
                  <a:lnTo>
                    <a:pt x="95" y="1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0" name="Freeform 57"/>
            <p:cNvSpPr>
              <a:spLocks noEditPoints="1"/>
            </p:cNvSpPr>
            <p:nvPr/>
          </p:nvSpPr>
          <p:spPr bwMode="auto">
            <a:xfrm>
              <a:off x="4484" y="2238"/>
              <a:ext cx="640" cy="1011"/>
            </a:xfrm>
            <a:custGeom>
              <a:avLst/>
              <a:gdLst>
                <a:gd name="T0" fmla="*/ 146 w 307"/>
                <a:gd name="T1" fmla="*/ 31 h 485"/>
                <a:gd name="T2" fmla="*/ 159 w 307"/>
                <a:gd name="T3" fmla="*/ 67 h 485"/>
                <a:gd name="T4" fmla="*/ 151 w 307"/>
                <a:gd name="T5" fmla="*/ 84 h 485"/>
                <a:gd name="T6" fmla="*/ 145 w 307"/>
                <a:gd name="T7" fmla="*/ 135 h 485"/>
                <a:gd name="T8" fmla="*/ 132 w 307"/>
                <a:gd name="T9" fmla="*/ 144 h 485"/>
                <a:gd name="T10" fmla="*/ 126 w 307"/>
                <a:gd name="T11" fmla="*/ 162 h 485"/>
                <a:gd name="T12" fmla="*/ 144 w 307"/>
                <a:gd name="T13" fmla="*/ 193 h 485"/>
                <a:gd name="T14" fmla="*/ 174 w 307"/>
                <a:gd name="T15" fmla="*/ 204 h 485"/>
                <a:gd name="T16" fmla="*/ 201 w 307"/>
                <a:gd name="T17" fmla="*/ 222 h 485"/>
                <a:gd name="T18" fmla="*/ 210 w 307"/>
                <a:gd name="T19" fmla="*/ 234 h 485"/>
                <a:gd name="T20" fmla="*/ 228 w 307"/>
                <a:gd name="T21" fmla="*/ 260 h 485"/>
                <a:gd name="T22" fmla="*/ 237 w 307"/>
                <a:gd name="T23" fmla="*/ 288 h 485"/>
                <a:gd name="T24" fmla="*/ 258 w 307"/>
                <a:gd name="T25" fmla="*/ 325 h 485"/>
                <a:gd name="T26" fmla="*/ 278 w 307"/>
                <a:gd name="T27" fmla="*/ 363 h 485"/>
                <a:gd name="T28" fmla="*/ 251 w 307"/>
                <a:gd name="T29" fmla="*/ 388 h 485"/>
                <a:gd name="T30" fmla="*/ 144 w 307"/>
                <a:gd name="T31" fmla="*/ 321 h 485"/>
                <a:gd name="T32" fmla="*/ 126 w 307"/>
                <a:gd name="T33" fmla="*/ 281 h 485"/>
                <a:gd name="T34" fmla="*/ 119 w 307"/>
                <a:gd name="T35" fmla="*/ 231 h 485"/>
                <a:gd name="T36" fmla="*/ 101 w 307"/>
                <a:gd name="T37" fmla="*/ 181 h 485"/>
                <a:gd name="T38" fmla="*/ 92 w 307"/>
                <a:gd name="T39" fmla="*/ 144 h 485"/>
                <a:gd name="T40" fmla="*/ 68 w 307"/>
                <a:gd name="T41" fmla="*/ 113 h 485"/>
                <a:gd name="T42" fmla="*/ 61 w 307"/>
                <a:gd name="T43" fmla="*/ 138 h 485"/>
                <a:gd name="T44" fmla="*/ 73 w 307"/>
                <a:gd name="T45" fmla="*/ 158 h 485"/>
                <a:gd name="T46" fmla="*/ 59 w 307"/>
                <a:gd name="T47" fmla="*/ 155 h 485"/>
                <a:gd name="T48" fmla="*/ 46 w 307"/>
                <a:gd name="T49" fmla="*/ 140 h 485"/>
                <a:gd name="T50" fmla="*/ 27 w 307"/>
                <a:gd name="T51" fmla="*/ 123 h 485"/>
                <a:gd name="T52" fmla="*/ 12 w 307"/>
                <a:gd name="T53" fmla="*/ 115 h 485"/>
                <a:gd name="T54" fmla="*/ 1 w 307"/>
                <a:gd name="T55" fmla="*/ 94 h 485"/>
                <a:gd name="T56" fmla="*/ 9 w 307"/>
                <a:gd name="T57" fmla="*/ 80 h 485"/>
                <a:gd name="T58" fmla="*/ 26 w 307"/>
                <a:gd name="T59" fmla="*/ 66 h 485"/>
                <a:gd name="T60" fmla="*/ 43 w 307"/>
                <a:gd name="T61" fmla="*/ 48 h 485"/>
                <a:gd name="T62" fmla="*/ 72 w 307"/>
                <a:gd name="T63" fmla="*/ 57 h 485"/>
                <a:gd name="T64" fmla="*/ 89 w 307"/>
                <a:gd name="T65" fmla="*/ 57 h 485"/>
                <a:gd name="T66" fmla="*/ 106 w 307"/>
                <a:gd name="T67" fmla="*/ 52 h 485"/>
                <a:gd name="T68" fmla="*/ 116 w 307"/>
                <a:gd name="T69" fmla="*/ 22 h 485"/>
                <a:gd name="T70" fmla="*/ 129 w 307"/>
                <a:gd name="T71" fmla="*/ 7 h 485"/>
                <a:gd name="T72" fmla="*/ 304 w 307"/>
                <a:gd name="T73" fmla="*/ 479 h 485"/>
                <a:gd name="T74" fmla="*/ 306 w 307"/>
                <a:gd name="T75" fmla="*/ 484 h 485"/>
                <a:gd name="T76" fmla="*/ 304 w 307"/>
                <a:gd name="T77" fmla="*/ 479 h 485"/>
                <a:gd name="T78" fmla="*/ 295 w 307"/>
                <a:gd name="T79" fmla="*/ 462 h 485"/>
                <a:gd name="T80" fmla="*/ 285 w 307"/>
                <a:gd name="T81" fmla="*/ 433 h 485"/>
                <a:gd name="T82" fmla="*/ 282 w 307"/>
                <a:gd name="T83" fmla="*/ 418 h 485"/>
                <a:gd name="T84" fmla="*/ 282 w 307"/>
                <a:gd name="T85" fmla="*/ 202 h 485"/>
                <a:gd name="T86" fmla="*/ 149 w 307"/>
                <a:gd name="T87" fmla="*/ 166 h 485"/>
                <a:gd name="T88" fmla="*/ 158 w 307"/>
                <a:gd name="T89" fmla="*/ 188 h 485"/>
                <a:gd name="T90" fmla="*/ 149 w 307"/>
                <a:gd name="T91" fmla="*/ 16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7" h="485">
                  <a:moveTo>
                    <a:pt x="140" y="0"/>
                  </a:moveTo>
                  <a:cubicBezTo>
                    <a:pt x="141" y="4"/>
                    <a:pt x="143" y="7"/>
                    <a:pt x="142" y="12"/>
                  </a:cubicBezTo>
                  <a:cubicBezTo>
                    <a:pt x="142" y="17"/>
                    <a:pt x="144" y="28"/>
                    <a:pt x="146" y="31"/>
                  </a:cubicBezTo>
                  <a:cubicBezTo>
                    <a:pt x="149" y="34"/>
                    <a:pt x="152" y="39"/>
                    <a:pt x="153" y="42"/>
                  </a:cubicBezTo>
                  <a:cubicBezTo>
                    <a:pt x="154" y="46"/>
                    <a:pt x="156" y="50"/>
                    <a:pt x="157" y="54"/>
                  </a:cubicBezTo>
                  <a:cubicBezTo>
                    <a:pt x="157" y="59"/>
                    <a:pt x="158" y="65"/>
                    <a:pt x="159" y="67"/>
                  </a:cubicBezTo>
                  <a:cubicBezTo>
                    <a:pt x="160" y="69"/>
                    <a:pt x="166" y="75"/>
                    <a:pt x="169" y="76"/>
                  </a:cubicBezTo>
                  <a:cubicBezTo>
                    <a:pt x="171" y="78"/>
                    <a:pt x="169" y="81"/>
                    <a:pt x="163" y="82"/>
                  </a:cubicBezTo>
                  <a:cubicBezTo>
                    <a:pt x="157" y="82"/>
                    <a:pt x="154" y="83"/>
                    <a:pt x="151" y="84"/>
                  </a:cubicBezTo>
                  <a:cubicBezTo>
                    <a:pt x="149" y="86"/>
                    <a:pt x="143" y="88"/>
                    <a:pt x="139" y="100"/>
                  </a:cubicBezTo>
                  <a:cubicBezTo>
                    <a:pt x="136" y="113"/>
                    <a:pt x="137" y="116"/>
                    <a:pt x="140" y="122"/>
                  </a:cubicBezTo>
                  <a:cubicBezTo>
                    <a:pt x="143" y="128"/>
                    <a:pt x="145" y="135"/>
                    <a:pt x="145" y="135"/>
                  </a:cubicBezTo>
                  <a:cubicBezTo>
                    <a:pt x="145" y="135"/>
                    <a:pt x="137" y="133"/>
                    <a:pt x="136" y="131"/>
                  </a:cubicBezTo>
                  <a:cubicBezTo>
                    <a:pt x="134" y="129"/>
                    <a:pt x="128" y="126"/>
                    <a:pt x="128" y="126"/>
                  </a:cubicBezTo>
                  <a:cubicBezTo>
                    <a:pt x="128" y="126"/>
                    <a:pt x="129" y="140"/>
                    <a:pt x="132" y="144"/>
                  </a:cubicBezTo>
                  <a:cubicBezTo>
                    <a:pt x="135" y="147"/>
                    <a:pt x="137" y="147"/>
                    <a:pt x="135" y="150"/>
                  </a:cubicBezTo>
                  <a:cubicBezTo>
                    <a:pt x="132" y="152"/>
                    <a:pt x="128" y="149"/>
                    <a:pt x="127" y="155"/>
                  </a:cubicBezTo>
                  <a:cubicBezTo>
                    <a:pt x="127" y="160"/>
                    <a:pt x="128" y="160"/>
                    <a:pt x="126" y="162"/>
                  </a:cubicBezTo>
                  <a:cubicBezTo>
                    <a:pt x="123" y="163"/>
                    <a:pt x="124" y="163"/>
                    <a:pt x="126" y="168"/>
                  </a:cubicBezTo>
                  <a:cubicBezTo>
                    <a:pt x="128" y="173"/>
                    <a:pt x="135" y="175"/>
                    <a:pt x="137" y="180"/>
                  </a:cubicBezTo>
                  <a:cubicBezTo>
                    <a:pt x="138" y="184"/>
                    <a:pt x="142" y="186"/>
                    <a:pt x="144" y="193"/>
                  </a:cubicBezTo>
                  <a:cubicBezTo>
                    <a:pt x="147" y="200"/>
                    <a:pt x="152" y="213"/>
                    <a:pt x="157" y="216"/>
                  </a:cubicBezTo>
                  <a:cubicBezTo>
                    <a:pt x="161" y="220"/>
                    <a:pt x="170" y="218"/>
                    <a:pt x="169" y="214"/>
                  </a:cubicBezTo>
                  <a:cubicBezTo>
                    <a:pt x="168" y="211"/>
                    <a:pt x="169" y="205"/>
                    <a:pt x="174" y="204"/>
                  </a:cubicBezTo>
                  <a:cubicBezTo>
                    <a:pt x="178" y="203"/>
                    <a:pt x="183" y="207"/>
                    <a:pt x="183" y="211"/>
                  </a:cubicBezTo>
                  <a:cubicBezTo>
                    <a:pt x="183" y="215"/>
                    <a:pt x="186" y="217"/>
                    <a:pt x="189" y="218"/>
                  </a:cubicBezTo>
                  <a:cubicBezTo>
                    <a:pt x="192" y="220"/>
                    <a:pt x="199" y="224"/>
                    <a:pt x="201" y="222"/>
                  </a:cubicBezTo>
                  <a:cubicBezTo>
                    <a:pt x="202" y="221"/>
                    <a:pt x="207" y="219"/>
                    <a:pt x="211" y="220"/>
                  </a:cubicBezTo>
                  <a:cubicBezTo>
                    <a:pt x="214" y="222"/>
                    <a:pt x="222" y="228"/>
                    <a:pt x="218" y="231"/>
                  </a:cubicBezTo>
                  <a:cubicBezTo>
                    <a:pt x="215" y="235"/>
                    <a:pt x="211" y="234"/>
                    <a:pt x="210" y="234"/>
                  </a:cubicBezTo>
                  <a:cubicBezTo>
                    <a:pt x="209" y="234"/>
                    <a:pt x="209" y="237"/>
                    <a:pt x="210" y="241"/>
                  </a:cubicBezTo>
                  <a:cubicBezTo>
                    <a:pt x="210" y="244"/>
                    <a:pt x="213" y="245"/>
                    <a:pt x="216" y="251"/>
                  </a:cubicBezTo>
                  <a:cubicBezTo>
                    <a:pt x="219" y="256"/>
                    <a:pt x="221" y="257"/>
                    <a:pt x="228" y="260"/>
                  </a:cubicBezTo>
                  <a:cubicBezTo>
                    <a:pt x="236" y="264"/>
                    <a:pt x="243" y="260"/>
                    <a:pt x="245" y="264"/>
                  </a:cubicBezTo>
                  <a:cubicBezTo>
                    <a:pt x="246" y="268"/>
                    <a:pt x="248" y="275"/>
                    <a:pt x="245" y="278"/>
                  </a:cubicBezTo>
                  <a:cubicBezTo>
                    <a:pt x="242" y="281"/>
                    <a:pt x="237" y="278"/>
                    <a:pt x="237" y="288"/>
                  </a:cubicBezTo>
                  <a:cubicBezTo>
                    <a:pt x="238" y="297"/>
                    <a:pt x="237" y="301"/>
                    <a:pt x="240" y="305"/>
                  </a:cubicBezTo>
                  <a:cubicBezTo>
                    <a:pt x="243" y="309"/>
                    <a:pt x="264" y="317"/>
                    <a:pt x="264" y="319"/>
                  </a:cubicBezTo>
                  <a:cubicBezTo>
                    <a:pt x="265" y="322"/>
                    <a:pt x="258" y="320"/>
                    <a:pt x="258" y="325"/>
                  </a:cubicBezTo>
                  <a:cubicBezTo>
                    <a:pt x="258" y="329"/>
                    <a:pt x="258" y="331"/>
                    <a:pt x="258" y="336"/>
                  </a:cubicBezTo>
                  <a:cubicBezTo>
                    <a:pt x="258" y="342"/>
                    <a:pt x="260" y="344"/>
                    <a:pt x="263" y="348"/>
                  </a:cubicBezTo>
                  <a:cubicBezTo>
                    <a:pt x="266" y="352"/>
                    <a:pt x="276" y="357"/>
                    <a:pt x="278" y="363"/>
                  </a:cubicBezTo>
                  <a:cubicBezTo>
                    <a:pt x="280" y="370"/>
                    <a:pt x="283" y="404"/>
                    <a:pt x="283" y="404"/>
                  </a:cubicBezTo>
                  <a:cubicBezTo>
                    <a:pt x="283" y="404"/>
                    <a:pt x="276" y="400"/>
                    <a:pt x="271" y="399"/>
                  </a:cubicBezTo>
                  <a:cubicBezTo>
                    <a:pt x="266" y="398"/>
                    <a:pt x="258" y="393"/>
                    <a:pt x="251" y="388"/>
                  </a:cubicBezTo>
                  <a:cubicBezTo>
                    <a:pt x="244" y="383"/>
                    <a:pt x="240" y="387"/>
                    <a:pt x="226" y="378"/>
                  </a:cubicBezTo>
                  <a:cubicBezTo>
                    <a:pt x="212" y="369"/>
                    <a:pt x="193" y="359"/>
                    <a:pt x="182" y="353"/>
                  </a:cubicBezTo>
                  <a:cubicBezTo>
                    <a:pt x="170" y="347"/>
                    <a:pt x="151" y="329"/>
                    <a:pt x="144" y="321"/>
                  </a:cubicBezTo>
                  <a:cubicBezTo>
                    <a:pt x="137" y="313"/>
                    <a:pt x="139" y="302"/>
                    <a:pt x="135" y="297"/>
                  </a:cubicBezTo>
                  <a:cubicBezTo>
                    <a:pt x="131" y="292"/>
                    <a:pt x="124" y="290"/>
                    <a:pt x="122" y="288"/>
                  </a:cubicBezTo>
                  <a:cubicBezTo>
                    <a:pt x="120" y="285"/>
                    <a:pt x="125" y="285"/>
                    <a:pt x="126" y="281"/>
                  </a:cubicBezTo>
                  <a:cubicBezTo>
                    <a:pt x="126" y="277"/>
                    <a:pt x="122" y="274"/>
                    <a:pt x="125" y="270"/>
                  </a:cubicBezTo>
                  <a:cubicBezTo>
                    <a:pt x="128" y="266"/>
                    <a:pt x="130" y="261"/>
                    <a:pt x="128" y="258"/>
                  </a:cubicBezTo>
                  <a:cubicBezTo>
                    <a:pt x="126" y="255"/>
                    <a:pt x="125" y="237"/>
                    <a:pt x="119" y="231"/>
                  </a:cubicBezTo>
                  <a:cubicBezTo>
                    <a:pt x="113" y="226"/>
                    <a:pt x="111" y="218"/>
                    <a:pt x="111" y="212"/>
                  </a:cubicBezTo>
                  <a:cubicBezTo>
                    <a:pt x="111" y="206"/>
                    <a:pt x="110" y="201"/>
                    <a:pt x="107" y="197"/>
                  </a:cubicBezTo>
                  <a:cubicBezTo>
                    <a:pt x="104" y="192"/>
                    <a:pt x="105" y="184"/>
                    <a:pt x="101" y="181"/>
                  </a:cubicBezTo>
                  <a:cubicBezTo>
                    <a:pt x="97" y="178"/>
                    <a:pt x="98" y="176"/>
                    <a:pt x="97" y="170"/>
                  </a:cubicBezTo>
                  <a:cubicBezTo>
                    <a:pt x="97" y="163"/>
                    <a:pt x="102" y="159"/>
                    <a:pt x="98" y="155"/>
                  </a:cubicBezTo>
                  <a:cubicBezTo>
                    <a:pt x="95" y="150"/>
                    <a:pt x="92" y="147"/>
                    <a:pt x="92" y="144"/>
                  </a:cubicBezTo>
                  <a:cubicBezTo>
                    <a:pt x="91" y="140"/>
                    <a:pt x="88" y="143"/>
                    <a:pt x="83" y="139"/>
                  </a:cubicBezTo>
                  <a:cubicBezTo>
                    <a:pt x="77" y="134"/>
                    <a:pt x="69" y="128"/>
                    <a:pt x="67" y="124"/>
                  </a:cubicBezTo>
                  <a:cubicBezTo>
                    <a:pt x="66" y="120"/>
                    <a:pt x="66" y="115"/>
                    <a:pt x="68" y="113"/>
                  </a:cubicBezTo>
                  <a:cubicBezTo>
                    <a:pt x="70" y="111"/>
                    <a:pt x="70" y="107"/>
                    <a:pt x="66" y="110"/>
                  </a:cubicBezTo>
                  <a:cubicBezTo>
                    <a:pt x="62" y="113"/>
                    <a:pt x="57" y="121"/>
                    <a:pt x="56" y="125"/>
                  </a:cubicBezTo>
                  <a:cubicBezTo>
                    <a:pt x="55" y="130"/>
                    <a:pt x="56" y="133"/>
                    <a:pt x="61" y="138"/>
                  </a:cubicBezTo>
                  <a:cubicBezTo>
                    <a:pt x="66" y="143"/>
                    <a:pt x="67" y="147"/>
                    <a:pt x="72" y="145"/>
                  </a:cubicBezTo>
                  <a:cubicBezTo>
                    <a:pt x="78" y="143"/>
                    <a:pt x="80" y="149"/>
                    <a:pt x="78" y="152"/>
                  </a:cubicBezTo>
                  <a:cubicBezTo>
                    <a:pt x="75" y="154"/>
                    <a:pt x="73" y="156"/>
                    <a:pt x="73" y="158"/>
                  </a:cubicBezTo>
                  <a:cubicBezTo>
                    <a:pt x="67" y="157"/>
                    <a:pt x="67" y="157"/>
                    <a:pt x="67" y="157"/>
                  </a:cubicBezTo>
                  <a:cubicBezTo>
                    <a:pt x="67" y="153"/>
                    <a:pt x="67" y="153"/>
                    <a:pt x="67" y="153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37" y="135"/>
                    <a:pt x="37" y="135"/>
                    <a:pt x="37" y="135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7" y="123"/>
                    <a:pt x="27" y="123"/>
                    <a:pt x="27" y="123"/>
                  </a:cubicBezTo>
                  <a:cubicBezTo>
                    <a:pt x="20" y="123"/>
                    <a:pt x="20" y="123"/>
                    <a:pt x="20" y="123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8" y="65"/>
                    <a:pt x="78" y="65"/>
                    <a:pt x="78" y="65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0" y="30"/>
                    <a:pt x="110" y="30"/>
                    <a:pt x="110" y="30"/>
                  </a:cubicBezTo>
                  <a:cubicBezTo>
                    <a:pt x="116" y="22"/>
                    <a:pt x="116" y="22"/>
                    <a:pt x="116" y="22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25" y="3"/>
                    <a:pt x="125" y="3"/>
                    <a:pt x="125" y="3"/>
                  </a:cubicBezTo>
                  <a:cubicBezTo>
                    <a:pt x="129" y="7"/>
                    <a:pt x="129" y="7"/>
                    <a:pt x="129" y="7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40" y="0"/>
                    <a:pt x="140" y="0"/>
                    <a:pt x="140" y="0"/>
                  </a:cubicBezTo>
                  <a:close/>
                  <a:moveTo>
                    <a:pt x="304" y="479"/>
                  </a:moveTo>
                  <a:cubicBezTo>
                    <a:pt x="304" y="478"/>
                    <a:pt x="304" y="478"/>
                    <a:pt x="305" y="478"/>
                  </a:cubicBezTo>
                  <a:cubicBezTo>
                    <a:pt x="306" y="478"/>
                    <a:pt x="306" y="478"/>
                    <a:pt x="306" y="479"/>
                  </a:cubicBezTo>
                  <a:cubicBezTo>
                    <a:pt x="307" y="481"/>
                    <a:pt x="306" y="484"/>
                    <a:pt x="306" y="484"/>
                  </a:cubicBezTo>
                  <a:cubicBezTo>
                    <a:pt x="306" y="485"/>
                    <a:pt x="306" y="485"/>
                    <a:pt x="305" y="485"/>
                  </a:cubicBezTo>
                  <a:cubicBezTo>
                    <a:pt x="305" y="485"/>
                    <a:pt x="304" y="484"/>
                    <a:pt x="304" y="484"/>
                  </a:cubicBezTo>
                  <a:cubicBezTo>
                    <a:pt x="304" y="484"/>
                    <a:pt x="305" y="481"/>
                    <a:pt x="304" y="479"/>
                  </a:cubicBezTo>
                  <a:close/>
                  <a:moveTo>
                    <a:pt x="295" y="455"/>
                  </a:moveTo>
                  <a:cubicBezTo>
                    <a:pt x="298" y="456"/>
                    <a:pt x="306" y="462"/>
                    <a:pt x="302" y="463"/>
                  </a:cubicBezTo>
                  <a:cubicBezTo>
                    <a:pt x="299" y="464"/>
                    <a:pt x="296" y="465"/>
                    <a:pt x="295" y="462"/>
                  </a:cubicBezTo>
                  <a:cubicBezTo>
                    <a:pt x="294" y="458"/>
                    <a:pt x="295" y="455"/>
                    <a:pt x="295" y="455"/>
                  </a:cubicBezTo>
                  <a:close/>
                  <a:moveTo>
                    <a:pt x="282" y="418"/>
                  </a:moveTo>
                  <a:cubicBezTo>
                    <a:pt x="282" y="422"/>
                    <a:pt x="287" y="427"/>
                    <a:pt x="285" y="433"/>
                  </a:cubicBezTo>
                  <a:cubicBezTo>
                    <a:pt x="283" y="440"/>
                    <a:pt x="289" y="443"/>
                    <a:pt x="290" y="437"/>
                  </a:cubicBezTo>
                  <a:cubicBezTo>
                    <a:pt x="292" y="431"/>
                    <a:pt x="294" y="426"/>
                    <a:pt x="289" y="421"/>
                  </a:cubicBezTo>
                  <a:cubicBezTo>
                    <a:pt x="285" y="415"/>
                    <a:pt x="282" y="418"/>
                    <a:pt x="282" y="418"/>
                  </a:cubicBezTo>
                  <a:close/>
                  <a:moveTo>
                    <a:pt x="263" y="195"/>
                  </a:moveTo>
                  <a:cubicBezTo>
                    <a:pt x="263" y="195"/>
                    <a:pt x="260" y="198"/>
                    <a:pt x="261" y="201"/>
                  </a:cubicBezTo>
                  <a:cubicBezTo>
                    <a:pt x="261" y="204"/>
                    <a:pt x="278" y="203"/>
                    <a:pt x="282" y="202"/>
                  </a:cubicBezTo>
                  <a:cubicBezTo>
                    <a:pt x="286" y="200"/>
                    <a:pt x="280" y="195"/>
                    <a:pt x="278" y="196"/>
                  </a:cubicBezTo>
                  <a:cubicBezTo>
                    <a:pt x="275" y="196"/>
                    <a:pt x="265" y="195"/>
                    <a:pt x="263" y="195"/>
                  </a:cubicBezTo>
                  <a:close/>
                  <a:moveTo>
                    <a:pt x="149" y="166"/>
                  </a:moveTo>
                  <a:cubicBezTo>
                    <a:pt x="148" y="169"/>
                    <a:pt x="149" y="176"/>
                    <a:pt x="151" y="179"/>
                  </a:cubicBezTo>
                  <a:cubicBezTo>
                    <a:pt x="151" y="180"/>
                    <a:pt x="153" y="180"/>
                    <a:pt x="154" y="181"/>
                  </a:cubicBezTo>
                  <a:cubicBezTo>
                    <a:pt x="157" y="183"/>
                    <a:pt x="155" y="188"/>
                    <a:pt x="158" y="188"/>
                  </a:cubicBezTo>
                  <a:cubicBezTo>
                    <a:pt x="160" y="189"/>
                    <a:pt x="159" y="181"/>
                    <a:pt x="159" y="174"/>
                  </a:cubicBezTo>
                  <a:cubicBezTo>
                    <a:pt x="158" y="168"/>
                    <a:pt x="159" y="167"/>
                    <a:pt x="157" y="167"/>
                  </a:cubicBezTo>
                  <a:cubicBezTo>
                    <a:pt x="154" y="166"/>
                    <a:pt x="149" y="166"/>
                    <a:pt x="149" y="16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1" name="Freeform 58"/>
            <p:cNvSpPr>
              <a:spLocks/>
            </p:cNvSpPr>
            <p:nvPr/>
          </p:nvSpPr>
          <p:spPr bwMode="auto">
            <a:xfrm>
              <a:off x="4565" y="3720"/>
              <a:ext cx="211" cy="488"/>
            </a:xfrm>
            <a:custGeom>
              <a:avLst/>
              <a:gdLst>
                <a:gd name="T0" fmla="*/ 92 w 101"/>
                <a:gd name="T1" fmla="*/ 20 h 234"/>
                <a:gd name="T2" fmla="*/ 100 w 101"/>
                <a:gd name="T3" fmla="*/ 54 h 234"/>
                <a:gd name="T4" fmla="*/ 99 w 101"/>
                <a:gd name="T5" fmla="*/ 114 h 234"/>
                <a:gd name="T6" fmla="*/ 99 w 101"/>
                <a:gd name="T7" fmla="*/ 150 h 234"/>
                <a:gd name="T8" fmla="*/ 89 w 101"/>
                <a:gd name="T9" fmla="*/ 180 h 234"/>
                <a:gd name="T10" fmla="*/ 77 w 101"/>
                <a:gd name="T11" fmla="*/ 198 h 234"/>
                <a:gd name="T12" fmla="*/ 64 w 101"/>
                <a:gd name="T13" fmla="*/ 201 h 234"/>
                <a:gd name="T14" fmla="*/ 53 w 101"/>
                <a:gd name="T15" fmla="*/ 197 h 234"/>
                <a:gd name="T16" fmla="*/ 43 w 101"/>
                <a:gd name="T17" fmla="*/ 206 h 234"/>
                <a:gd name="T18" fmla="*/ 43 w 101"/>
                <a:gd name="T19" fmla="*/ 223 h 234"/>
                <a:gd name="T20" fmla="*/ 38 w 101"/>
                <a:gd name="T21" fmla="*/ 234 h 234"/>
                <a:gd name="T22" fmla="*/ 36 w 101"/>
                <a:gd name="T23" fmla="*/ 218 h 234"/>
                <a:gd name="T24" fmla="*/ 28 w 101"/>
                <a:gd name="T25" fmla="*/ 198 h 234"/>
                <a:gd name="T26" fmla="*/ 3 w 101"/>
                <a:gd name="T27" fmla="*/ 172 h 234"/>
                <a:gd name="T28" fmla="*/ 9 w 101"/>
                <a:gd name="T29" fmla="*/ 150 h 234"/>
                <a:gd name="T30" fmla="*/ 31 w 101"/>
                <a:gd name="T31" fmla="*/ 135 h 234"/>
                <a:gd name="T32" fmla="*/ 30 w 101"/>
                <a:gd name="T33" fmla="*/ 116 h 234"/>
                <a:gd name="T34" fmla="*/ 26 w 101"/>
                <a:gd name="T35" fmla="*/ 97 h 234"/>
                <a:gd name="T36" fmla="*/ 31 w 101"/>
                <a:gd name="T37" fmla="*/ 89 h 234"/>
                <a:gd name="T38" fmla="*/ 31 w 101"/>
                <a:gd name="T39" fmla="*/ 73 h 234"/>
                <a:gd name="T40" fmla="*/ 43 w 101"/>
                <a:gd name="T41" fmla="*/ 71 h 234"/>
                <a:gd name="T42" fmla="*/ 56 w 101"/>
                <a:gd name="T43" fmla="*/ 70 h 234"/>
                <a:gd name="T44" fmla="*/ 67 w 101"/>
                <a:gd name="T45" fmla="*/ 60 h 234"/>
                <a:gd name="T46" fmla="*/ 63 w 101"/>
                <a:gd name="T47" fmla="*/ 50 h 234"/>
                <a:gd name="T48" fmla="*/ 74 w 101"/>
                <a:gd name="T49" fmla="*/ 39 h 234"/>
                <a:gd name="T50" fmla="*/ 74 w 101"/>
                <a:gd name="T51" fmla="*/ 21 h 234"/>
                <a:gd name="T52" fmla="*/ 68 w 101"/>
                <a:gd name="T53" fmla="*/ 26 h 234"/>
                <a:gd name="T54" fmla="*/ 59 w 101"/>
                <a:gd name="T55" fmla="*/ 21 h 234"/>
                <a:gd name="T56" fmla="*/ 53 w 101"/>
                <a:gd name="T57" fmla="*/ 16 h 234"/>
                <a:gd name="T58" fmla="*/ 62 w 101"/>
                <a:gd name="T59" fmla="*/ 1 h 234"/>
                <a:gd name="T60" fmla="*/ 74 w 101"/>
                <a:gd name="T61" fmla="*/ 6 h 234"/>
                <a:gd name="T62" fmla="*/ 81 w 101"/>
                <a:gd name="T63" fmla="*/ 15 h 234"/>
                <a:gd name="T64" fmla="*/ 92 w 101"/>
                <a:gd name="T65" fmla="*/ 1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1" h="234">
                  <a:moveTo>
                    <a:pt x="92" y="17"/>
                  </a:moveTo>
                  <a:cubicBezTo>
                    <a:pt x="92" y="18"/>
                    <a:pt x="92" y="19"/>
                    <a:pt x="92" y="20"/>
                  </a:cubicBezTo>
                  <a:cubicBezTo>
                    <a:pt x="94" y="31"/>
                    <a:pt x="91" y="32"/>
                    <a:pt x="95" y="37"/>
                  </a:cubicBezTo>
                  <a:cubicBezTo>
                    <a:pt x="99" y="43"/>
                    <a:pt x="99" y="49"/>
                    <a:pt x="100" y="54"/>
                  </a:cubicBezTo>
                  <a:cubicBezTo>
                    <a:pt x="100" y="60"/>
                    <a:pt x="97" y="83"/>
                    <a:pt x="98" y="93"/>
                  </a:cubicBezTo>
                  <a:cubicBezTo>
                    <a:pt x="99" y="103"/>
                    <a:pt x="101" y="104"/>
                    <a:pt x="99" y="114"/>
                  </a:cubicBezTo>
                  <a:cubicBezTo>
                    <a:pt x="96" y="124"/>
                    <a:pt x="95" y="123"/>
                    <a:pt x="97" y="127"/>
                  </a:cubicBezTo>
                  <a:cubicBezTo>
                    <a:pt x="99" y="131"/>
                    <a:pt x="99" y="145"/>
                    <a:pt x="99" y="150"/>
                  </a:cubicBezTo>
                  <a:cubicBezTo>
                    <a:pt x="98" y="156"/>
                    <a:pt x="96" y="165"/>
                    <a:pt x="94" y="171"/>
                  </a:cubicBezTo>
                  <a:cubicBezTo>
                    <a:pt x="91" y="177"/>
                    <a:pt x="89" y="175"/>
                    <a:pt x="89" y="180"/>
                  </a:cubicBezTo>
                  <a:cubicBezTo>
                    <a:pt x="88" y="184"/>
                    <a:pt x="84" y="189"/>
                    <a:pt x="82" y="191"/>
                  </a:cubicBezTo>
                  <a:cubicBezTo>
                    <a:pt x="81" y="193"/>
                    <a:pt x="79" y="198"/>
                    <a:pt x="77" y="198"/>
                  </a:cubicBezTo>
                  <a:cubicBezTo>
                    <a:pt x="75" y="198"/>
                    <a:pt x="71" y="197"/>
                    <a:pt x="69" y="199"/>
                  </a:cubicBezTo>
                  <a:cubicBezTo>
                    <a:pt x="67" y="201"/>
                    <a:pt x="66" y="200"/>
                    <a:pt x="64" y="201"/>
                  </a:cubicBezTo>
                  <a:cubicBezTo>
                    <a:pt x="62" y="202"/>
                    <a:pt x="60" y="204"/>
                    <a:pt x="59" y="202"/>
                  </a:cubicBezTo>
                  <a:cubicBezTo>
                    <a:pt x="58" y="199"/>
                    <a:pt x="54" y="195"/>
                    <a:pt x="53" y="197"/>
                  </a:cubicBezTo>
                  <a:cubicBezTo>
                    <a:pt x="52" y="200"/>
                    <a:pt x="50" y="202"/>
                    <a:pt x="48" y="200"/>
                  </a:cubicBezTo>
                  <a:cubicBezTo>
                    <a:pt x="46" y="199"/>
                    <a:pt x="43" y="203"/>
                    <a:pt x="43" y="206"/>
                  </a:cubicBezTo>
                  <a:cubicBezTo>
                    <a:pt x="44" y="208"/>
                    <a:pt x="44" y="212"/>
                    <a:pt x="43" y="213"/>
                  </a:cubicBezTo>
                  <a:cubicBezTo>
                    <a:pt x="41" y="215"/>
                    <a:pt x="44" y="223"/>
                    <a:pt x="43" y="223"/>
                  </a:cubicBezTo>
                  <a:cubicBezTo>
                    <a:pt x="41" y="224"/>
                    <a:pt x="39" y="225"/>
                    <a:pt x="38" y="227"/>
                  </a:cubicBezTo>
                  <a:cubicBezTo>
                    <a:pt x="38" y="228"/>
                    <a:pt x="39" y="231"/>
                    <a:pt x="38" y="234"/>
                  </a:cubicBezTo>
                  <a:cubicBezTo>
                    <a:pt x="34" y="232"/>
                    <a:pt x="31" y="230"/>
                    <a:pt x="30" y="228"/>
                  </a:cubicBezTo>
                  <a:cubicBezTo>
                    <a:pt x="29" y="225"/>
                    <a:pt x="32" y="222"/>
                    <a:pt x="36" y="218"/>
                  </a:cubicBezTo>
                  <a:cubicBezTo>
                    <a:pt x="40" y="214"/>
                    <a:pt x="36" y="214"/>
                    <a:pt x="35" y="210"/>
                  </a:cubicBezTo>
                  <a:cubicBezTo>
                    <a:pt x="33" y="207"/>
                    <a:pt x="30" y="203"/>
                    <a:pt x="28" y="198"/>
                  </a:cubicBezTo>
                  <a:cubicBezTo>
                    <a:pt x="25" y="193"/>
                    <a:pt x="21" y="187"/>
                    <a:pt x="17" y="182"/>
                  </a:cubicBezTo>
                  <a:cubicBezTo>
                    <a:pt x="14" y="176"/>
                    <a:pt x="6" y="175"/>
                    <a:pt x="3" y="172"/>
                  </a:cubicBezTo>
                  <a:cubicBezTo>
                    <a:pt x="0" y="169"/>
                    <a:pt x="4" y="166"/>
                    <a:pt x="9" y="162"/>
                  </a:cubicBezTo>
                  <a:cubicBezTo>
                    <a:pt x="13" y="158"/>
                    <a:pt x="7" y="156"/>
                    <a:pt x="9" y="150"/>
                  </a:cubicBezTo>
                  <a:cubicBezTo>
                    <a:pt x="12" y="144"/>
                    <a:pt x="26" y="147"/>
                    <a:pt x="31" y="145"/>
                  </a:cubicBezTo>
                  <a:cubicBezTo>
                    <a:pt x="37" y="142"/>
                    <a:pt x="33" y="139"/>
                    <a:pt x="31" y="135"/>
                  </a:cubicBezTo>
                  <a:cubicBezTo>
                    <a:pt x="29" y="132"/>
                    <a:pt x="30" y="129"/>
                    <a:pt x="32" y="126"/>
                  </a:cubicBezTo>
                  <a:cubicBezTo>
                    <a:pt x="34" y="124"/>
                    <a:pt x="30" y="118"/>
                    <a:pt x="30" y="116"/>
                  </a:cubicBezTo>
                  <a:cubicBezTo>
                    <a:pt x="29" y="115"/>
                    <a:pt x="29" y="110"/>
                    <a:pt x="29" y="107"/>
                  </a:cubicBezTo>
                  <a:cubicBezTo>
                    <a:pt x="29" y="104"/>
                    <a:pt x="27" y="100"/>
                    <a:pt x="26" y="97"/>
                  </a:cubicBezTo>
                  <a:cubicBezTo>
                    <a:pt x="25" y="96"/>
                    <a:pt x="24" y="94"/>
                    <a:pt x="23" y="92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7" y="20"/>
                    <a:pt x="87" y="20"/>
                    <a:pt x="87" y="20"/>
                  </a:cubicBezTo>
                  <a:lnTo>
                    <a:pt x="92" y="1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2" name="Freeform 59"/>
            <p:cNvSpPr>
              <a:spLocks noEditPoints="1"/>
            </p:cNvSpPr>
            <p:nvPr/>
          </p:nvSpPr>
          <p:spPr bwMode="auto">
            <a:xfrm>
              <a:off x="4142" y="2930"/>
              <a:ext cx="615" cy="982"/>
            </a:xfrm>
            <a:custGeom>
              <a:avLst/>
              <a:gdLst>
                <a:gd name="T0" fmla="*/ 137 w 295"/>
                <a:gd name="T1" fmla="*/ 58 h 471"/>
                <a:gd name="T2" fmla="*/ 112 w 295"/>
                <a:gd name="T3" fmla="*/ 142 h 471"/>
                <a:gd name="T4" fmla="*/ 102 w 295"/>
                <a:gd name="T5" fmla="*/ 255 h 471"/>
                <a:gd name="T6" fmla="*/ 142 w 295"/>
                <a:gd name="T7" fmla="*/ 260 h 471"/>
                <a:gd name="T8" fmla="*/ 154 w 295"/>
                <a:gd name="T9" fmla="*/ 271 h 471"/>
                <a:gd name="T10" fmla="*/ 161 w 295"/>
                <a:gd name="T11" fmla="*/ 237 h 471"/>
                <a:gd name="T12" fmla="*/ 215 w 295"/>
                <a:gd name="T13" fmla="*/ 233 h 471"/>
                <a:gd name="T14" fmla="*/ 234 w 295"/>
                <a:gd name="T15" fmla="*/ 256 h 471"/>
                <a:gd name="T16" fmla="*/ 253 w 295"/>
                <a:gd name="T17" fmla="*/ 301 h 471"/>
                <a:gd name="T18" fmla="*/ 293 w 295"/>
                <a:gd name="T19" fmla="*/ 358 h 471"/>
                <a:gd name="T20" fmla="*/ 284 w 295"/>
                <a:gd name="T21" fmla="*/ 394 h 471"/>
                <a:gd name="T22" fmla="*/ 265 w 295"/>
                <a:gd name="T23" fmla="*/ 380 h 471"/>
                <a:gd name="T24" fmla="*/ 262 w 295"/>
                <a:gd name="T25" fmla="*/ 400 h 471"/>
                <a:gd name="T26" fmla="*/ 277 w 295"/>
                <a:gd name="T27" fmla="*/ 400 h 471"/>
                <a:gd name="T28" fmla="*/ 266 w 295"/>
                <a:gd name="T29" fmla="*/ 429 h 471"/>
                <a:gd name="T30" fmla="*/ 259 w 295"/>
                <a:gd name="T31" fmla="*/ 449 h 471"/>
                <a:gd name="T32" fmla="*/ 234 w 295"/>
                <a:gd name="T33" fmla="*/ 452 h 471"/>
                <a:gd name="T34" fmla="*/ 224 w 295"/>
                <a:gd name="T35" fmla="*/ 465 h 471"/>
                <a:gd name="T36" fmla="*/ 216 w 295"/>
                <a:gd name="T37" fmla="*/ 436 h 471"/>
                <a:gd name="T38" fmla="*/ 196 w 295"/>
                <a:gd name="T39" fmla="*/ 417 h 471"/>
                <a:gd name="T40" fmla="*/ 171 w 295"/>
                <a:gd name="T41" fmla="*/ 424 h 471"/>
                <a:gd name="T42" fmla="*/ 148 w 295"/>
                <a:gd name="T43" fmla="*/ 442 h 471"/>
                <a:gd name="T44" fmla="*/ 134 w 295"/>
                <a:gd name="T45" fmla="*/ 427 h 471"/>
                <a:gd name="T46" fmla="*/ 119 w 295"/>
                <a:gd name="T47" fmla="*/ 419 h 471"/>
                <a:gd name="T48" fmla="*/ 106 w 295"/>
                <a:gd name="T49" fmla="*/ 389 h 471"/>
                <a:gd name="T50" fmla="*/ 116 w 295"/>
                <a:gd name="T51" fmla="*/ 367 h 471"/>
                <a:gd name="T52" fmla="*/ 114 w 295"/>
                <a:gd name="T53" fmla="*/ 339 h 471"/>
                <a:gd name="T54" fmla="*/ 135 w 295"/>
                <a:gd name="T55" fmla="*/ 323 h 471"/>
                <a:gd name="T56" fmla="*/ 111 w 295"/>
                <a:gd name="T57" fmla="*/ 313 h 471"/>
                <a:gd name="T58" fmla="*/ 96 w 295"/>
                <a:gd name="T59" fmla="*/ 330 h 471"/>
                <a:gd name="T60" fmla="*/ 62 w 295"/>
                <a:gd name="T61" fmla="*/ 336 h 471"/>
                <a:gd name="T62" fmla="*/ 52 w 295"/>
                <a:gd name="T63" fmla="*/ 311 h 471"/>
                <a:gd name="T64" fmla="*/ 62 w 295"/>
                <a:gd name="T65" fmla="*/ 278 h 471"/>
                <a:gd name="T66" fmla="*/ 39 w 295"/>
                <a:gd name="T67" fmla="*/ 284 h 471"/>
                <a:gd name="T68" fmla="*/ 26 w 295"/>
                <a:gd name="T69" fmla="*/ 273 h 471"/>
                <a:gd name="T70" fmla="*/ 18 w 295"/>
                <a:gd name="T71" fmla="*/ 251 h 471"/>
                <a:gd name="T72" fmla="*/ 10 w 295"/>
                <a:gd name="T73" fmla="*/ 238 h 471"/>
                <a:gd name="T74" fmla="*/ 6 w 295"/>
                <a:gd name="T75" fmla="*/ 221 h 471"/>
                <a:gd name="T76" fmla="*/ 0 w 295"/>
                <a:gd name="T77" fmla="*/ 196 h 471"/>
                <a:gd name="T78" fmla="*/ 10 w 295"/>
                <a:gd name="T79" fmla="*/ 174 h 471"/>
                <a:gd name="T80" fmla="*/ 26 w 295"/>
                <a:gd name="T81" fmla="*/ 158 h 471"/>
                <a:gd name="T82" fmla="*/ 43 w 295"/>
                <a:gd name="T83" fmla="*/ 129 h 471"/>
                <a:gd name="T84" fmla="*/ 38 w 295"/>
                <a:gd name="T85" fmla="*/ 105 h 471"/>
                <a:gd name="T86" fmla="*/ 32 w 295"/>
                <a:gd name="T87" fmla="*/ 75 h 471"/>
                <a:gd name="T88" fmla="*/ 24 w 295"/>
                <a:gd name="T89" fmla="*/ 36 h 471"/>
                <a:gd name="T90" fmla="*/ 57 w 295"/>
                <a:gd name="T91" fmla="*/ 32 h 471"/>
                <a:gd name="T92" fmla="*/ 74 w 295"/>
                <a:gd name="T93" fmla="*/ 9 h 471"/>
                <a:gd name="T94" fmla="*/ 119 w 295"/>
                <a:gd name="T95" fmla="*/ 11 h 471"/>
                <a:gd name="T96" fmla="*/ 116 w 295"/>
                <a:gd name="T97" fmla="*/ 30 h 471"/>
                <a:gd name="T98" fmla="*/ 142 w 295"/>
                <a:gd name="T99" fmla="*/ 35 h 471"/>
                <a:gd name="T100" fmla="*/ 130 w 295"/>
                <a:gd name="T101" fmla="*/ 24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5" h="471">
                  <a:moveTo>
                    <a:pt x="152" y="42"/>
                  </a:moveTo>
                  <a:cubicBezTo>
                    <a:pt x="149" y="44"/>
                    <a:pt x="147" y="45"/>
                    <a:pt x="148" y="47"/>
                  </a:cubicBezTo>
                  <a:cubicBezTo>
                    <a:pt x="149" y="50"/>
                    <a:pt x="153" y="53"/>
                    <a:pt x="149" y="55"/>
                  </a:cubicBezTo>
                  <a:cubicBezTo>
                    <a:pt x="144" y="56"/>
                    <a:pt x="141" y="56"/>
                    <a:pt x="137" y="58"/>
                  </a:cubicBezTo>
                  <a:cubicBezTo>
                    <a:pt x="134" y="60"/>
                    <a:pt x="117" y="73"/>
                    <a:pt x="111" y="84"/>
                  </a:cubicBezTo>
                  <a:cubicBezTo>
                    <a:pt x="106" y="95"/>
                    <a:pt x="106" y="100"/>
                    <a:pt x="108" y="106"/>
                  </a:cubicBezTo>
                  <a:cubicBezTo>
                    <a:pt x="110" y="112"/>
                    <a:pt x="110" y="120"/>
                    <a:pt x="108" y="124"/>
                  </a:cubicBezTo>
                  <a:cubicBezTo>
                    <a:pt x="106" y="128"/>
                    <a:pt x="115" y="136"/>
                    <a:pt x="112" y="142"/>
                  </a:cubicBezTo>
                  <a:cubicBezTo>
                    <a:pt x="110" y="149"/>
                    <a:pt x="112" y="164"/>
                    <a:pt x="112" y="171"/>
                  </a:cubicBezTo>
                  <a:cubicBezTo>
                    <a:pt x="112" y="178"/>
                    <a:pt x="111" y="196"/>
                    <a:pt x="112" y="205"/>
                  </a:cubicBezTo>
                  <a:cubicBezTo>
                    <a:pt x="114" y="215"/>
                    <a:pt x="105" y="225"/>
                    <a:pt x="104" y="234"/>
                  </a:cubicBezTo>
                  <a:cubicBezTo>
                    <a:pt x="102" y="243"/>
                    <a:pt x="106" y="250"/>
                    <a:pt x="102" y="255"/>
                  </a:cubicBezTo>
                  <a:cubicBezTo>
                    <a:pt x="98" y="260"/>
                    <a:pt x="108" y="272"/>
                    <a:pt x="118" y="261"/>
                  </a:cubicBezTo>
                  <a:cubicBezTo>
                    <a:pt x="128" y="251"/>
                    <a:pt x="129" y="249"/>
                    <a:pt x="133" y="259"/>
                  </a:cubicBezTo>
                  <a:cubicBezTo>
                    <a:pt x="137" y="269"/>
                    <a:pt x="142" y="272"/>
                    <a:pt x="144" y="268"/>
                  </a:cubicBezTo>
                  <a:cubicBezTo>
                    <a:pt x="145" y="264"/>
                    <a:pt x="146" y="265"/>
                    <a:pt x="142" y="260"/>
                  </a:cubicBezTo>
                  <a:cubicBezTo>
                    <a:pt x="139" y="256"/>
                    <a:pt x="140" y="248"/>
                    <a:pt x="143" y="253"/>
                  </a:cubicBezTo>
                  <a:cubicBezTo>
                    <a:pt x="147" y="258"/>
                    <a:pt x="149" y="260"/>
                    <a:pt x="150" y="259"/>
                  </a:cubicBezTo>
                  <a:cubicBezTo>
                    <a:pt x="151" y="258"/>
                    <a:pt x="155" y="256"/>
                    <a:pt x="155" y="260"/>
                  </a:cubicBezTo>
                  <a:cubicBezTo>
                    <a:pt x="155" y="263"/>
                    <a:pt x="151" y="270"/>
                    <a:pt x="154" y="271"/>
                  </a:cubicBezTo>
                  <a:cubicBezTo>
                    <a:pt x="156" y="272"/>
                    <a:pt x="164" y="265"/>
                    <a:pt x="163" y="262"/>
                  </a:cubicBezTo>
                  <a:cubicBezTo>
                    <a:pt x="163" y="260"/>
                    <a:pt x="163" y="257"/>
                    <a:pt x="164" y="254"/>
                  </a:cubicBezTo>
                  <a:cubicBezTo>
                    <a:pt x="165" y="252"/>
                    <a:pt x="164" y="246"/>
                    <a:pt x="160" y="244"/>
                  </a:cubicBezTo>
                  <a:cubicBezTo>
                    <a:pt x="157" y="241"/>
                    <a:pt x="158" y="238"/>
                    <a:pt x="161" y="237"/>
                  </a:cubicBezTo>
                  <a:cubicBezTo>
                    <a:pt x="164" y="237"/>
                    <a:pt x="170" y="234"/>
                    <a:pt x="170" y="232"/>
                  </a:cubicBezTo>
                  <a:cubicBezTo>
                    <a:pt x="171" y="230"/>
                    <a:pt x="178" y="227"/>
                    <a:pt x="183" y="229"/>
                  </a:cubicBezTo>
                  <a:cubicBezTo>
                    <a:pt x="188" y="231"/>
                    <a:pt x="191" y="232"/>
                    <a:pt x="197" y="232"/>
                  </a:cubicBezTo>
                  <a:cubicBezTo>
                    <a:pt x="203" y="231"/>
                    <a:pt x="215" y="229"/>
                    <a:pt x="215" y="233"/>
                  </a:cubicBezTo>
                  <a:cubicBezTo>
                    <a:pt x="215" y="237"/>
                    <a:pt x="217" y="240"/>
                    <a:pt x="215" y="241"/>
                  </a:cubicBezTo>
                  <a:cubicBezTo>
                    <a:pt x="214" y="243"/>
                    <a:pt x="222" y="246"/>
                    <a:pt x="225" y="247"/>
                  </a:cubicBezTo>
                  <a:cubicBezTo>
                    <a:pt x="228" y="248"/>
                    <a:pt x="229" y="250"/>
                    <a:pt x="230" y="252"/>
                  </a:cubicBezTo>
                  <a:cubicBezTo>
                    <a:pt x="231" y="255"/>
                    <a:pt x="233" y="254"/>
                    <a:pt x="234" y="256"/>
                  </a:cubicBezTo>
                  <a:cubicBezTo>
                    <a:pt x="236" y="257"/>
                    <a:pt x="238" y="254"/>
                    <a:pt x="239" y="260"/>
                  </a:cubicBezTo>
                  <a:cubicBezTo>
                    <a:pt x="240" y="266"/>
                    <a:pt x="241" y="267"/>
                    <a:pt x="241" y="272"/>
                  </a:cubicBezTo>
                  <a:cubicBezTo>
                    <a:pt x="242" y="276"/>
                    <a:pt x="244" y="280"/>
                    <a:pt x="244" y="281"/>
                  </a:cubicBezTo>
                  <a:cubicBezTo>
                    <a:pt x="244" y="282"/>
                    <a:pt x="248" y="295"/>
                    <a:pt x="253" y="301"/>
                  </a:cubicBezTo>
                  <a:cubicBezTo>
                    <a:pt x="259" y="308"/>
                    <a:pt x="266" y="307"/>
                    <a:pt x="268" y="313"/>
                  </a:cubicBezTo>
                  <a:cubicBezTo>
                    <a:pt x="269" y="319"/>
                    <a:pt x="271" y="318"/>
                    <a:pt x="273" y="322"/>
                  </a:cubicBezTo>
                  <a:cubicBezTo>
                    <a:pt x="275" y="325"/>
                    <a:pt x="276" y="328"/>
                    <a:pt x="279" y="334"/>
                  </a:cubicBezTo>
                  <a:cubicBezTo>
                    <a:pt x="281" y="340"/>
                    <a:pt x="292" y="353"/>
                    <a:pt x="293" y="358"/>
                  </a:cubicBezTo>
                  <a:cubicBezTo>
                    <a:pt x="293" y="362"/>
                    <a:pt x="289" y="370"/>
                    <a:pt x="291" y="380"/>
                  </a:cubicBezTo>
                  <a:cubicBezTo>
                    <a:pt x="292" y="390"/>
                    <a:pt x="293" y="388"/>
                    <a:pt x="295" y="396"/>
                  </a:cubicBezTo>
                  <a:cubicBezTo>
                    <a:pt x="290" y="399"/>
                    <a:pt x="290" y="399"/>
                    <a:pt x="290" y="399"/>
                  </a:cubicBezTo>
                  <a:cubicBezTo>
                    <a:pt x="284" y="394"/>
                    <a:pt x="284" y="394"/>
                    <a:pt x="284" y="394"/>
                  </a:cubicBezTo>
                  <a:cubicBezTo>
                    <a:pt x="285" y="388"/>
                    <a:pt x="285" y="388"/>
                    <a:pt x="285" y="388"/>
                  </a:cubicBezTo>
                  <a:cubicBezTo>
                    <a:pt x="277" y="385"/>
                    <a:pt x="277" y="385"/>
                    <a:pt x="277" y="385"/>
                  </a:cubicBezTo>
                  <a:cubicBezTo>
                    <a:pt x="269" y="379"/>
                    <a:pt x="269" y="379"/>
                    <a:pt x="269" y="379"/>
                  </a:cubicBezTo>
                  <a:cubicBezTo>
                    <a:pt x="265" y="380"/>
                    <a:pt x="265" y="380"/>
                    <a:pt x="265" y="380"/>
                  </a:cubicBezTo>
                  <a:cubicBezTo>
                    <a:pt x="264" y="390"/>
                    <a:pt x="264" y="390"/>
                    <a:pt x="264" y="390"/>
                  </a:cubicBezTo>
                  <a:cubicBezTo>
                    <a:pt x="256" y="395"/>
                    <a:pt x="256" y="395"/>
                    <a:pt x="256" y="39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2" y="400"/>
                    <a:pt x="262" y="400"/>
                    <a:pt x="262" y="400"/>
                  </a:cubicBezTo>
                  <a:cubicBezTo>
                    <a:pt x="266" y="405"/>
                    <a:pt x="266" y="405"/>
                    <a:pt x="266" y="405"/>
                  </a:cubicBezTo>
                  <a:cubicBezTo>
                    <a:pt x="271" y="405"/>
                    <a:pt x="271" y="405"/>
                    <a:pt x="271" y="405"/>
                  </a:cubicBezTo>
                  <a:cubicBezTo>
                    <a:pt x="274" y="401"/>
                    <a:pt x="274" y="401"/>
                    <a:pt x="274" y="401"/>
                  </a:cubicBezTo>
                  <a:cubicBezTo>
                    <a:pt x="277" y="400"/>
                    <a:pt x="277" y="400"/>
                    <a:pt x="277" y="400"/>
                  </a:cubicBezTo>
                  <a:cubicBezTo>
                    <a:pt x="278" y="407"/>
                    <a:pt x="278" y="407"/>
                    <a:pt x="278" y="407"/>
                  </a:cubicBezTo>
                  <a:cubicBezTo>
                    <a:pt x="277" y="418"/>
                    <a:pt x="277" y="418"/>
                    <a:pt x="277" y="418"/>
                  </a:cubicBezTo>
                  <a:cubicBezTo>
                    <a:pt x="270" y="421"/>
                    <a:pt x="270" y="421"/>
                    <a:pt x="270" y="421"/>
                  </a:cubicBezTo>
                  <a:cubicBezTo>
                    <a:pt x="266" y="429"/>
                    <a:pt x="266" y="429"/>
                    <a:pt x="266" y="429"/>
                  </a:cubicBezTo>
                  <a:cubicBezTo>
                    <a:pt x="268" y="430"/>
                    <a:pt x="268" y="430"/>
                    <a:pt x="268" y="430"/>
                  </a:cubicBezTo>
                  <a:cubicBezTo>
                    <a:pt x="270" y="439"/>
                    <a:pt x="270" y="439"/>
                    <a:pt x="270" y="439"/>
                  </a:cubicBezTo>
                  <a:cubicBezTo>
                    <a:pt x="263" y="446"/>
                    <a:pt x="263" y="446"/>
                    <a:pt x="263" y="446"/>
                  </a:cubicBezTo>
                  <a:cubicBezTo>
                    <a:pt x="259" y="449"/>
                    <a:pt x="259" y="449"/>
                    <a:pt x="259" y="449"/>
                  </a:cubicBezTo>
                  <a:cubicBezTo>
                    <a:pt x="254" y="447"/>
                    <a:pt x="254" y="447"/>
                    <a:pt x="254" y="447"/>
                  </a:cubicBezTo>
                  <a:cubicBezTo>
                    <a:pt x="246" y="450"/>
                    <a:pt x="246" y="450"/>
                    <a:pt x="246" y="450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4" y="452"/>
                    <a:pt x="234" y="452"/>
                    <a:pt x="234" y="452"/>
                  </a:cubicBezTo>
                  <a:cubicBezTo>
                    <a:pt x="231" y="461"/>
                    <a:pt x="231" y="461"/>
                    <a:pt x="231" y="461"/>
                  </a:cubicBezTo>
                  <a:cubicBezTo>
                    <a:pt x="234" y="468"/>
                    <a:pt x="234" y="468"/>
                    <a:pt x="234" y="468"/>
                  </a:cubicBezTo>
                  <a:cubicBezTo>
                    <a:pt x="226" y="471"/>
                    <a:pt x="226" y="471"/>
                    <a:pt x="226" y="471"/>
                  </a:cubicBezTo>
                  <a:cubicBezTo>
                    <a:pt x="225" y="470"/>
                    <a:pt x="225" y="467"/>
                    <a:pt x="224" y="465"/>
                  </a:cubicBezTo>
                  <a:cubicBezTo>
                    <a:pt x="222" y="459"/>
                    <a:pt x="224" y="460"/>
                    <a:pt x="221" y="454"/>
                  </a:cubicBezTo>
                  <a:cubicBezTo>
                    <a:pt x="218" y="449"/>
                    <a:pt x="221" y="450"/>
                    <a:pt x="222" y="445"/>
                  </a:cubicBezTo>
                  <a:cubicBezTo>
                    <a:pt x="222" y="439"/>
                    <a:pt x="222" y="436"/>
                    <a:pt x="218" y="436"/>
                  </a:cubicBezTo>
                  <a:cubicBezTo>
                    <a:pt x="217" y="436"/>
                    <a:pt x="217" y="436"/>
                    <a:pt x="216" y="436"/>
                  </a:cubicBezTo>
                  <a:cubicBezTo>
                    <a:pt x="217" y="410"/>
                    <a:pt x="217" y="410"/>
                    <a:pt x="217" y="410"/>
                  </a:cubicBezTo>
                  <a:cubicBezTo>
                    <a:pt x="214" y="409"/>
                    <a:pt x="214" y="409"/>
                    <a:pt x="214" y="409"/>
                  </a:cubicBezTo>
                  <a:cubicBezTo>
                    <a:pt x="208" y="415"/>
                    <a:pt x="208" y="415"/>
                    <a:pt x="208" y="415"/>
                  </a:cubicBezTo>
                  <a:cubicBezTo>
                    <a:pt x="196" y="417"/>
                    <a:pt x="196" y="417"/>
                    <a:pt x="196" y="417"/>
                  </a:cubicBezTo>
                  <a:cubicBezTo>
                    <a:pt x="191" y="424"/>
                    <a:pt x="191" y="424"/>
                    <a:pt x="191" y="424"/>
                  </a:cubicBezTo>
                  <a:cubicBezTo>
                    <a:pt x="186" y="425"/>
                    <a:pt x="186" y="425"/>
                    <a:pt x="186" y="425"/>
                  </a:cubicBezTo>
                  <a:cubicBezTo>
                    <a:pt x="180" y="429"/>
                    <a:pt x="180" y="429"/>
                    <a:pt x="180" y="429"/>
                  </a:cubicBezTo>
                  <a:cubicBezTo>
                    <a:pt x="171" y="424"/>
                    <a:pt x="171" y="424"/>
                    <a:pt x="171" y="424"/>
                  </a:cubicBezTo>
                  <a:cubicBezTo>
                    <a:pt x="165" y="427"/>
                    <a:pt x="165" y="427"/>
                    <a:pt x="165" y="427"/>
                  </a:cubicBezTo>
                  <a:cubicBezTo>
                    <a:pt x="154" y="426"/>
                    <a:pt x="154" y="426"/>
                    <a:pt x="154" y="426"/>
                  </a:cubicBezTo>
                  <a:cubicBezTo>
                    <a:pt x="154" y="436"/>
                    <a:pt x="154" y="436"/>
                    <a:pt x="154" y="436"/>
                  </a:cubicBezTo>
                  <a:cubicBezTo>
                    <a:pt x="148" y="442"/>
                    <a:pt x="148" y="442"/>
                    <a:pt x="148" y="442"/>
                  </a:cubicBezTo>
                  <a:cubicBezTo>
                    <a:pt x="142" y="443"/>
                    <a:pt x="142" y="443"/>
                    <a:pt x="142" y="443"/>
                  </a:cubicBezTo>
                  <a:cubicBezTo>
                    <a:pt x="143" y="434"/>
                    <a:pt x="143" y="434"/>
                    <a:pt x="143" y="434"/>
                  </a:cubicBezTo>
                  <a:cubicBezTo>
                    <a:pt x="136" y="432"/>
                    <a:pt x="136" y="432"/>
                    <a:pt x="136" y="432"/>
                  </a:cubicBezTo>
                  <a:cubicBezTo>
                    <a:pt x="134" y="427"/>
                    <a:pt x="134" y="427"/>
                    <a:pt x="134" y="427"/>
                  </a:cubicBezTo>
                  <a:cubicBezTo>
                    <a:pt x="130" y="422"/>
                    <a:pt x="130" y="422"/>
                    <a:pt x="130" y="422"/>
                  </a:cubicBezTo>
                  <a:cubicBezTo>
                    <a:pt x="129" y="417"/>
                    <a:pt x="129" y="417"/>
                    <a:pt x="129" y="417"/>
                  </a:cubicBezTo>
                  <a:cubicBezTo>
                    <a:pt x="124" y="415"/>
                    <a:pt x="124" y="415"/>
                    <a:pt x="124" y="415"/>
                  </a:cubicBezTo>
                  <a:cubicBezTo>
                    <a:pt x="119" y="419"/>
                    <a:pt x="119" y="419"/>
                    <a:pt x="119" y="419"/>
                  </a:cubicBezTo>
                  <a:cubicBezTo>
                    <a:pt x="115" y="413"/>
                    <a:pt x="115" y="413"/>
                    <a:pt x="115" y="413"/>
                  </a:cubicBezTo>
                  <a:cubicBezTo>
                    <a:pt x="107" y="409"/>
                    <a:pt x="107" y="409"/>
                    <a:pt x="107" y="409"/>
                  </a:cubicBezTo>
                  <a:cubicBezTo>
                    <a:pt x="104" y="397"/>
                    <a:pt x="104" y="397"/>
                    <a:pt x="104" y="397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4" y="383"/>
                    <a:pt x="104" y="383"/>
                    <a:pt x="104" y="383"/>
                  </a:cubicBezTo>
                  <a:cubicBezTo>
                    <a:pt x="109" y="378"/>
                    <a:pt x="109" y="378"/>
                    <a:pt x="109" y="378"/>
                  </a:cubicBezTo>
                  <a:cubicBezTo>
                    <a:pt x="109" y="372"/>
                    <a:pt x="109" y="372"/>
                    <a:pt x="109" y="372"/>
                  </a:cubicBezTo>
                  <a:cubicBezTo>
                    <a:pt x="116" y="367"/>
                    <a:pt x="116" y="367"/>
                    <a:pt x="116" y="367"/>
                  </a:cubicBezTo>
                  <a:cubicBezTo>
                    <a:pt x="115" y="356"/>
                    <a:pt x="115" y="356"/>
                    <a:pt x="115" y="356"/>
                  </a:cubicBezTo>
                  <a:cubicBezTo>
                    <a:pt x="122" y="352"/>
                    <a:pt x="122" y="352"/>
                    <a:pt x="122" y="352"/>
                  </a:cubicBezTo>
                  <a:cubicBezTo>
                    <a:pt x="122" y="347"/>
                    <a:pt x="122" y="347"/>
                    <a:pt x="122" y="347"/>
                  </a:cubicBezTo>
                  <a:cubicBezTo>
                    <a:pt x="114" y="339"/>
                    <a:pt x="114" y="339"/>
                    <a:pt x="114" y="339"/>
                  </a:cubicBezTo>
                  <a:cubicBezTo>
                    <a:pt x="117" y="335"/>
                    <a:pt x="117" y="335"/>
                    <a:pt x="117" y="335"/>
                  </a:cubicBezTo>
                  <a:cubicBezTo>
                    <a:pt x="124" y="336"/>
                    <a:pt x="124" y="336"/>
                    <a:pt x="124" y="336"/>
                  </a:cubicBezTo>
                  <a:cubicBezTo>
                    <a:pt x="134" y="332"/>
                    <a:pt x="134" y="332"/>
                    <a:pt x="134" y="332"/>
                  </a:cubicBezTo>
                  <a:cubicBezTo>
                    <a:pt x="135" y="323"/>
                    <a:pt x="135" y="323"/>
                    <a:pt x="135" y="323"/>
                  </a:cubicBezTo>
                  <a:cubicBezTo>
                    <a:pt x="130" y="314"/>
                    <a:pt x="130" y="314"/>
                    <a:pt x="130" y="314"/>
                  </a:cubicBezTo>
                  <a:cubicBezTo>
                    <a:pt x="124" y="305"/>
                    <a:pt x="124" y="305"/>
                    <a:pt x="124" y="305"/>
                  </a:cubicBezTo>
                  <a:cubicBezTo>
                    <a:pt x="116" y="305"/>
                    <a:pt x="116" y="305"/>
                    <a:pt x="116" y="305"/>
                  </a:cubicBezTo>
                  <a:cubicBezTo>
                    <a:pt x="111" y="313"/>
                    <a:pt x="111" y="313"/>
                    <a:pt x="111" y="313"/>
                  </a:cubicBezTo>
                  <a:cubicBezTo>
                    <a:pt x="106" y="314"/>
                    <a:pt x="106" y="314"/>
                    <a:pt x="106" y="314"/>
                  </a:cubicBezTo>
                  <a:cubicBezTo>
                    <a:pt x="103" y="320"/>
                    <a:pt x="103" y="320"/>
                    <a:pt x="103" y="320"/>
                  </a:cubicBezTo>
                  <a:cubicBezTo>
                    <a:pt x="102" y="329"/>
                    <a:pt x="102" y="329"/>
                    <a:pt x="102" y="329"/>
                  </a:cubicBezTo>
                  <a:cubicBezTo>
                    <a:pt x="96" y="330"/>
                    <a:pt x="96" y="330"/>
                    <a:pt x="96" y="330"/>
                  </a:cubicBezTo>
                  <a:cubicBezTo>
                    <a:pt x="88" y="341"/>
                    <a:pt x="88" y="341"/>
                    <a:pt x="88" y="341"/>
                  </a:cubicBezTo>
                  <a:cubicBezTo>
                    <a:pt x="81" y="346"/>
                    <a:pt x="81" y="346"/>
                    <a:pt x="81" y="346"/>
                  </a:cubicBezTo>
                  <a:cubicBezTo>
                    <a:pt x="72" y="331"/>
                    <a:pt x="72" y="331"/>
                    <a:pt x="72" y="331"/>
                  </a:cubicBezTo>
                  <a:cubicBezTo>
                    <a:pt x="62" y="336"/>
                    <a:pt x="62" y="336"/>
                    <a:pt x="62" y="336"/>
                  </a:cubicBezTo>
                  <a:cubicBezTo>
                    <a:pt x="54" y="334"/>
                    <a:pt x="54" y="334"/>
                    <a:pt x="54" y="334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56" y="318"/>
                    <a:pt x="56" y="318"/>
                    <a:pt x="56" y="318"/>
                  </a:cubicBezTo>
                  <a:cubicBezTo>
                    <a:pt x="52" y="311"/>
                    <a:pt x="52" y="311"/>
                    <a:pt x="52" y="311"/>
                  </a:cubicBezTo>
                  <a:cubicBezTo>
                    <a:pt x="57" y="306"/>
                    <a:pt x="57" y="306"/>
                    <a:pt x="57" y="306"/>
                  </a:cubicBezTo>
                  <a:cubicBezTo>
                    <a:pt x="56" y="296"/>
                    <a:pt x="56" y="296"/>
                    <a:pt x="56" y="296"/>
                  </a:cubicBezTo>
                  <a:cubicBezTo>
                    <a:pt x="59" y="292"/>
                    <a:pt x="59" y="292"/>
                    <a:pt x="59" y="292"/>
                  </a:cubicBezTo>
                  <a:cubicBezTo>
                    <a:pt x="62" y="278"/>
                    <a:pt x="62" y="278"/>
                    <a:pt x="62" y="278"/>
                  </a:cubicBezTo>
                  <a:cubicBezTo>
                    <a:pt x="59" y="276"/>
                    <a:pt x="59" y="276"/>
                    <a:pt x="59" y="276"/>
                  </a:cubicBezTo>
                  <a:cubicBezTo>
                    <a:pt x="52" y="277"/>
                    <a:pt x="52" y="277"/>
                    <a:pt x="52" y="277"/>
                  </a:cubicBezTo>
                  <a:cubicBezTo>
                    <a:pt x="45" y="282"/>
                    <a:pt x="45" y="282"/>
                    <a:pt x="45" y="282"/>
                  </a:cubicBezTo>
                  <a:cubicBezTo>
                    <a:pt x="39" y="284"/>
                    <a:pt x="39" y="284"/>
                    <a:pt x="39" y="284"/>
                  </a:cubicBezTo>
                  <a:cubicBezTo>
                    <a:pt x="33" y="288"/>
                    <a:pt x="33" y="288"/>
                    <a:pt x="33" y="288"/>
                  </a:cubicBezTo>
                  <a:cubicBezTo>
                    <a:pt x="29" y="289"/>
                    <a:pt x="29" y="289"/>
                    <a:pt x="29" y="289"/>
                  </a:cubicBezTo>
                  <a:cubicBezTo>
                    <a:pt x="25" y="282"/>
                    <a:pt x="25" y="282"/>
                    <a:pt x="25" y="282"/>
                  </a:cubicBezTo>
                  <a:cubicBezTo>
                    <a:pt x="26" y="273"/>
                    <a:pt x="26" y="273"/>
                    <a:pt x="26" y="273"/>
                  </a:cubicBezTo>
                  <a:cubicBezTo>
                    <a:pt x="21" y="269"/>
                    <a:pt x="21" y="269"/>
                    <a:pt x="21" y="269"/>
                  </a:cubicBezTo>
                  <a:cubicBezTo>
                    <a:pt x="27" y="263"/>
                    <a:pt x="27" y="263"/>
                    <a:pt x="27" y="263"/>
                  </a:cubicBezTo>
                  <a:cubicBezTo>
                    <a:pt x="27" y="254"/>
                    <a:pt x="27" y="254"/>
                    <a:pt x="27" y="254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8" y="253"/>
                    <a:pt x="8" y="253"/>
                    <a:pt x="8" y="253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13" y="243"/>
                    <a:pt x="13" y="243"/>
                    <a:pt x="13" y="243"/>
                  </a:cubicBezTo>
                  <a:cubicBezTo>
                    <a:pt x="10" y="238"/>
                    <a:pt x="10" y="238"/>
                    <a:pt x="10" y="238"/>
                  </a:cubicBezTo>
                  <a:cubicBezTo>
                    <a:pt x="13" y="229"/>
                    <a:pt x="13" y="229"/>
                    <a:pt x="13" y="229"/>
                  </a:cubicBezTo>
                  <a:cubicBezTo>
                    <a:pt x="7" y="228"/>
                    <a:pt x="7" y="228"/>
                    <a:pt x="7" y="228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6" y="221"/>
                    <a:pt x="6" y="221"/>
                    <a:pt x="6" y="221"/>
                  </a:cubicBezTo>
                  <a:cubicBezTo>
                    <a:pt x="6" y="213"/>
                    <a:pt x="6" y="213"/>
                    <a:pt x="6" y="213"/>
                  </a:cubicBezTo>
                  <a:cubicBezTo>
                    <a:pt x="1" y="206"/>
                    <a:pt x="1" y="206"/>
                    <a:pt x="1" y="206"/>
                  </a:cubicBezTo>
                  <a:cubicBezTo>
                    <a:pt x="5" y="201"/>
                    <a:pt x="5" y="201"/>
                    <a:pt x="5" y="201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4" y="191"/>
                    <a:pt x="4" y="191"/>
                    <a:pt x="4" y="191"/>
                  </a:cubicBezTo>
                  <a:cubicBezTo>
                    <a:pt x="1" y="189"/>
                    <a:pt x="1" y="189"/>
                    <a:pt x="1" y="189"/>
                  </a:cubicBezTo>
                  <a:cubicBezTo>
                    <a:pt x="2" y="180"/>
                    <a:pt x="2" y="180"/>
                    <a:pt x="2" y="180"/>
                  </a:cubicBezTo>
                  <a:cubicBezTo>
                    <a:pt x="10" y="174"/>
                    <a:pt x="10" y="174"/>
                    <a:pt x="10" y="174"/>
                  </a:cubicBezTo>
                  <a:cubicBezTo>
                    <a:pt x="17" y="174"/>
                    <a:pt x="17" y="174"/>
                    <a:pt x="17" y="174"/>
                  </a:cubicBezTo>
                  <a:cubicBezTo>
                    <a:pt x="26" y="170"/>
                    <a:pt x="26" y="170"/>
                    <a:pt x="26" y="170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26" y="158"/>
                    <a:pt x="26" y="158"/>
                    <a:pt x="26" y="158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44" y="143"/>
                    <a:pt x="44" y="143"/>
                    <a:pt x="44" y="143"/>
                  </a:cubicBezTo>
                  <a:cubicBezTo>
                    <a:pt x="43" y="129"/>
                    <a:pt x="43" y="129"/>
                    <a:pt x="43" y="129"/>
                  </a:cubicBezTo>
                  <a:cubicBezTo>
                    <a:pt x="51" y="127"/>
                    <a:pt x="51" y="127"/>
                    <a:pt x="51" y="127"/>
                  </a:cubicBezTo>
                  <a:cubicBezTo>
                    <a:pt x="51" y="123"/>
                    <a:pt x="51" y="123"/>
                    <a:pt x="51" y="123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24" y="22"/>
                    <a:pt x="124" y="22"/>
                    <a:pt x="124" y="22"/>
                  </a:cubicBezTo>
                  <a:cubicBezTo>
                    <a:pt x="119" y="24"/>
                    <a:pt x="119" y="24"/>
                    <a:pt x="119" y="24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42" y="35"/>
                    <a:pt x="142" y="35"/>
                    <a:pt x="142" y="35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52" y="42"/>
                    <a:pt x="152" y="42"/>
                    <a:pt x="152" y="42"/>
                  </a:cubicBezTo>
                  <a:close/>
                  <a:moveTo>
                    <a:pt x="130" y="232"/>
                  </a:moveTo>
                  <a:cubicBezTo>
                    <a:pt x="129" y="236"/>
                    <a:pt x="128" y="238"/>
                    <a:pt x="130" y="240"/>
                  </a:cubicBezTo>
                  <a:cubicBezTo>
                    <a:pt x="133" y="243"/>
                    <a:pt x="135" y="239"/>
                    <a:pt x="137" y="241"/>
                  </a:cubicBezTo>
                  <a:cubicBezTo>
                    <a:pt x="139" y="244"/>
                    <a:pt x="141" y="239"/>
                    <a:pt x="139" y="235"/>
                  </a:cubicBezTo>
                  <a:cubicBezTo>
                    <a:pt x="136" y="229"/>
                    <a:pt x="136" y="227"/>
                    <a:pt x="130" y="232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3" name="Freeform 60"/>
            <p:cNvSpPr>
              <a:spLocks/>
            </p:cNvSpPr>
            <p:nvPr/>
          </p:nvSpPr>
          <p:spPr bwMode="auto">
            <a:xfrm>
              <a:off x="898" y="3826"/>
              <a:ext cx="160" cy="213"/>
            </a:xfrm>
            <a:custGeom>
              <a:avLst/>
              <a:gdLst>
                <a:gd name="T0" fmla="*/ 4 w 77"/>
                <a:gd name="T1" fmla="*/ 70 h 102"/>
                <a:gd name="T2" fmla="*/ 6 w 77"/>
                <a:gd name="T3" fmla="*/ 70 h 102"/>
                <a:gd name="T4" fmla="*/ 12 w 77"/>
                <a:gd name="T5" fmla="*/ 71 h 102"/>
                <a:gd name="T6" fmla="*/ 16 w 77"/>
                <a:gd name="T7" fmla="*/ 73 h 102"/>
                <a:gd name="T8" fmla="*/ 22 w 77"/>
                <a:gd name="T9" fmla="*/ 82 h 102"/>
                <a:gd name="T10" fmla="*/ 27 w 77"/>
                <a:gd name="T11" fmla="*/ 81 h 102"/>
                <a:gd name="T12" fmla="*/ 33 w 77"/>
                <a:gd name="T13" fmla="*/ 85 h 102"/>
                <a:gd name="T14" fmla="*/ 33 w 77"/>
                <a:gd name="T15" fmla="*/ 89 h 102"/>
                <a:gd name="T16" fmla="*/ 33 w 77"/>
                <a:gd name="T17" fmla="*/ 90 h 102"/>
                <a:gd name="T18" fmla="*/ 32 w 77"/>
                <a:gd name="T19" fmla="*/ 90 h 102"/>
                <a:gd name="T20" fmla="*/ 36 w 77"/>
                <a:gd name="T21" fmla="*/ 92 h 102"/>
                <a:gd name="T22" fmla="*/ 39 w 77"/>
                <a:gd name="T23" fmla="*/ 95 h 102"/>
                <a:gd name="T24" fmla="*/ 39 w 77"/>
                <a:gd name="T25" fmla="*/ 101 h 102"/>
                <a:gd name="T26" fmla="*/ 41 w 77"/>
                <a:gd name="T27" fmla="*/ 101 h 102"/>
                <a:gd name="T28" fmla="*/ 45 w 77"/>
                <a:gd name="T29" fmla="*/ 96 h 102"/>
                <a:gd name="T30" fmla="*/ 51 w 77"/>
                <a:gd name="T31" fmla="*/ 102 h 102"/>
                <a:gd name="T32" fmla="*/ 56 w 77"/>
                <a:gd name="T33" fmla="*/ 102 h 102"/>
                <a:gd name="T34" fmla="*/ 56 w 77"/>
                <a:gd name="T35" fmla="*/ 102 h 102"/>
                <a:gd name="T36" fmla="*/ 57 w 77"/>
                <a:gd name="T37" fmla="*/ 98 h 102"/>
                <a:gd name="T38" fmla="*/ 56 w 77"/>
                <a:gd name="T39" fmla="*/ 92 h 102"/>
                <a:gd name="T40" fmla="*/ 61 w 77"/>
                <a:gd name="T41" fmla="*/ 91 h 102"/>
                <a:gd name="T42" fmla="*/ 63 w 77"/>
                <a:gd name="T43" fmla="*/ 84 h 102"/>
                <a:gd name="T44" fmla="*/ 71 w 77"/>
                <a:gd name="T45" fmla="*/ 85 h 102"/>
                <a:gd name="T46" fmla="*/ 77 w 77"/>
                <a:gd name="T47" fmla="*/ 81 h 102"/>
                <a:gd name="T48" fmla="*/ 77 w 77"/>
                <a:gd name="T49" fmla="*/ 80 h 102"/>
                <a:gd name="T50" fmla="*/ 76 w 77"/>
                <a:gd name="T51" fmla="*/ 71 h 102"/>
                <a:gd name="T52" fmla="*/ 74 w 77"/>
                <a:gd name="T53" fmla="*/ 64 h 102"/>
                <a:gd name="T54" fmla="*/ 69 w 77"/>
                <a:gd name="T55" fmla="*/ 55 h 102"/>
                <a:gd name="T56" fmla="*/ 61 w 77"/>
                <a:gd name="T57" fmla="*/ 44 h 102"/>
                <a:gd name="T58" fmla="*/ 62 w 77"/>
                <a:gd name="T59" fmla="*/ 34 h 102"/>
                <a:gd name="T60" fmla="*/ 56 w 77"/>
                <a:gd name="T61" fmla="*/ 27 h 102"/>
                <a:gd name="T62" fmla="*/ 51 w 77"/>
                <a:gd name="T63" fmla="*/ 17 h 102"/>
                <a:gd name="T64" fmla="*/ 42 w 77"/>
                <a:gd name="T65" fmla="*/ 16 h 102"/>
                <a:gd name="T66" fmla="*/ 36 w 77"/>
                <a:gd name="T67" fmla="*/ 10 h 102"/>
                <a:gd name="T68" fmla="*/ 30 w 77"/>
                <a:gd name="T69" fmla="*/ 7 h 102"/>
                <a:gd name="T70" fmla="*/ 23 w 77"/>
                <a:gd name="T71" fmla="*/ 1 h 102"/>
                <a:gd name="T72" fmla="*/ 15 w 77"/>
                <a:gd name="T73" fmla="*/ 5 h 102"/>
                <a:gd name="T74" fmla="*/ 6 w 77"/>
                <a:gd name="T75" fmla="*/ 3 h 102"/>
                <a:gd name="T76" fmla="*/ 5 w 77"/>
                <a:gd name="T77" fmla="*/ 10 h 102"/>
                <a:gd name="T78" fmla="*/ 7 w 77"/>
                <a:gd name="T79" fmla="*/ 16 h 102"/>
                <a:gd name="T80" fmla="*/ 7 w 77"/>
                <a:gd name="T81" fmla="*/ 21 h 102"/>
                <a:gd name="T82" fmla="*/ 9 w 77"/>
                <a:gd name="T83" fmla="*/ 27 h 102"/>
                <a:gd name="T84" fmla="*/ 0 w 77"/>
                <a:gd name="T85" fmla="*/ 32 h 102"/>
                <a:gd name="T86" fmla="*/ 0 w 77"/>
                <a:gd name="T87" fmla="*/ 40 h 102"/>
                <a:gd name="T88" fmla="*/ 2 w 77"/>
                <a:gd name="T89" fmla="*/ 41 h 102"/>
                <a:gd name="T90" fmla="*/ 3 w 77"/>
                <a:gd name="T91" fmla="*/ 44 h 102"/>
                <a:gd name="T92" fmla="*/ 5 w 77"/>
                <a:gd name="T93" fmla="*/ 49 h 102"/>
                <a:gd name="T94" fmla="*/ 9 w 77"/>
                <a:gd name="T95" fmla="*/ 55 h 102"/>
                <a:gd name="T96" fmla="*/ 3 w 77"/>
                <a:gd name="T97" fmla="*/ 57 h 102"/>
                <a:gd name="T98" fmla="*/ 3 w 77"/>
                <a:gd name="T99" fmla="*/ 60 h 102"/>
                <a:gd name="T100" fmla="*/ 6 w 77"/>
                <a:gd name="T101" fmla="*/ 64 h 102"/>
                <a:gd name="T102" fmla="*/ 5 w 77"/>
                <a:gd name="T103" fmla="*/ 68 h 102"/>
                <a:gd name="T104" fmla="*/ 4 w 77"/>
                <a:gd name="T105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" h="102">
                  <a:moveTo>
                    <a:pt x="4" y="70"/>
                  </a:moveTo>
                  <a:cubicBezTo>
                    <a:pt x="6" y="70"/>
                    <a:pt x="6" y="70"/>
                    <a:pt x="6" y="70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39" y="101"/>
                    <a:pt x="39" y="101"/>
                    <a:pt x="39" y="101"/>
                  </a:cubicBezTo>
                  <a:cubicBezTo>
                    <a:pt x="40" y="101"/>
                    <a:pt x="40" y="101"/>
                    <a:pt x="41" y="101"/>
                  </a:cubicBezTo>
                  <a:cubicBezTo>
                    <a:pt x="42" y="100"/>
                    <a:pt x="45" y="96"/>
                    <a:pt x="45" y="96"/>
                  </a:cubicBezTo>
                  <a:cubicBezTo>
                    <a:pt x="45" y="96"/>
                    <a:pt x="50" y="102"/>
                    <a:pt x="51" y="102"/>
                  </a:cubicBezTo>
                  <a:cubicBezTo>
                    <a:pt x="51" y="102"/>
                    <a:pt x="53" y="102"/>
                    <a:pt x="56" y="102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9" y="100"/>
                    <a:pt x="57" y="98"/>
                  </a:cubicBezTo>
                  <a:cubicBezTo>
                    <a:pt x="56" y="95"/>
                    <a:pt x="55" y="92"/>
                    <a:pt x="56" y="92"/>
                  </a:cubicBezTo>
                  <a:cubicBezTo>
                    <a:pt x="57" y="92"/>
                    <a:pt x="61" y="92"/>
                    <a:pt x="61" y="91"/>
                  </a:cubicBezTo>
                  <a:cubicBezTo>
                    <a:pt x="61" y="89"/>
                    <a:pt x="62" y="84"/>
                    <a:pt x="63" y="84"/>
                  </a:cubicBezTo>
                  <a:cubicBezTo>
                    <a:pt x="65" y="84"/>
                    <a:pt x="68" y="87"/>
                    <a:pt x="71" y="85"/>
                  </a:cubicBezTo>
                  <a:cubicBezTo>
                    <a:pt x="72" y="84"/>
                    <a:pt x="74" y="82"/>
                    <a:pt x="77" y="81"/>
                  </a:cubicBezTo>
                  <a:cubicBezTo>
                    <a:pt x="77" y="80"/>
                    <a:pt x="77" y="80"/>
                    <a:pt x="77" y="80"/>
                  </a:cubicBezTo>
                  <a:cubicBezTo>
                    <a:pt x="77" y="80"/>
                    <a:pt x="77" y="73"/>
                    <a:pt x="76" y="71"/>
                  </a:cubicBezTo>
                  <a:cubicBezTo>
                    <a:pt x="76" y="70"/>
                    <a:pt x="74" y="67"/>
                    <a:pt x="74" y="64"/>
                  </a:cubicBezTo>
                  <a:cubicBezTo>
                    <a:pt x="74" y="61"/>
                    <a:pt x="70" y="60"/>
                    <a:pt x="69" y="55"/>
                  </a:cubicBezTo>
                  <a:cubicBezTo>
                    <a:pt x="68" y="50"/>
                    <a:pt x="61" y="48"/>
                    <a:pt x="61" y="44"/>
                  </a:cubicBezTo>
                  <a:cubicBezTo>
                    <a:pt x="62" y="41"/>
                    <a:pt x="65" y="37"/>
                    <a:pt x="62" y="34"/>
                  </a:cubicBezTo>
                  <a:cubicBezTo>
                    <a:pt x="59" y="30"/>
                    <a:pt x="58" y="33"/>
                    <a:pt x="56" y="27"/>
                  </a:cubicBezTo>
                  <a:cubicBezTo>
                    <a:pt x="54" y="21"/>
                    <a:pt x="54" y="19"/>
                    <a:pt x="51" y="17"/>
                  </a:cubicBezTo>
                  <a:cubicBezTo>
                    <a:pt x="49" y="16"/>
                    <a:pt x="45" y="18"/>
                    <a:pt x="42" y="16"/>
                  </a:cubicBezTo>
                  <a:cubicBezTo>
                    <a:pt x="40" y="13"/>
                    <a:pt x="39" y="10"/>
                    <a:pt x="36" y="10"/>
                  </a:cubicBezTo>
                  <a:cubicBezTo>
                    <a:pt x="33" y="11"/>
                    <a:pt x="32" y="12"/>
                    <a:pt x="30" y="7"/>
                  </a:cubicBezTo>
                  <a:cubicBezTo>
                    <a:pt x="27" y="3"/>
                    <a:pt x="27" y="1"/>
                    <a:pt x="23" y="1"/>
                  </a:cubicBezTo>
                  <a:cubicBezTo>
                    <a:pt x="20" y="2"/>
                    <a:pt x="18" y="6"/>
                    <a:pt x="15" y="5"/>
                  </a:cubicBezTo>
                  <a:cubicBezTo>
                    <a:pt x="12" y="4"/>
                    <a:pt x="9" y="0"/>
                    <a:pt x="6" y="3"/>
                  </a:cubicBezTo>
                  <a:cubicBezTo>
                    <a:pt x="3" y="6"/>
                    <a:pt x="7" y="9"/>
                    <a:pt x="5" y="10"/>
                  </a:cubicBezTo>
                  <a:cubicBezTo>
                    <a:pt x="3" y="12"/>
                    <a:pt x="6" y="15"/>
                    <a:pt x="7" y="16"/>
                  </a:cubicBezTo>
                  <a:cubicBezTo>
                    <a:pt x="8" y="17"/>
                    <a:pt x="8" y="20"/>
                    <a:pt x="7" y="21"/>
                  </a:cubicBezTo>
                  <a:cubicBezTo>
                    <a:pt x="6" y="23"/>
                    <a:pt x="10" y="26"/>
                    <a:pt x="9" y="27"/>
                  </a:cubicBezTo>
                  <a:cubicBezTo>
                    <a:pt x="8" y="28"/>
                    <a:pt x="0" y="32"/>
                    <a:pt x="0" y="32"/>
                  </a:cubicBezTo>
                  <a:cubicBezTo>
                    <a:pt x="0" y="32"/>
                    <a:pt x="0" y="37"/>
                    <a:pt x="0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55"/>
                    <a:pt x="3" y="56"/>
                    <a:pt x="3" y="57"/>
                  </a:cubicBezTo>
                  <a:cubicBezTo>
                    <a:pt x="2" y="58"/>
                    <a:pt x="3" y="60"/>
                    <a:pt x="3" y="60"/>
                  </a:cubicBezTo>
                  <a:cubicBezTo>
                    <a:pt x="3" y="60"/>
                    <a:pt x="6" y="64"/>
                    <a:pt x="6" y="64"/>
                  </a:cubicBezTo>
                  <a:cubicBezTo>
                    <a:pt x="5" y="68"/>
                    <a:pt x="5" y="68"/>
                    <a:pt x="5" y="68"/>
                  </a:cubicBezTo>
                  <a:lnTo>
                    <a:pt x="4" y="7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4" name="Freeform 61"/>
            <p:cNvSpPr>
              <a:spLocks noEditPoints="1"/>
            </p:cNvSpPr>
            <p:nvPr/>
          </p:nvSpPr>
          <p:spPr bwMode="auto">
            <a:xfrm>
              <a:off x="762" y="3691"/>
              <a:ext cx="186" cy="231"/>
            </a:xfrm>
            <a:custGeom>
              <a:avLst/>
              <a:gdLst>
                <a:gd name="T0" fmla="*/ 88 w 89"/>
                <a:gd name="T1" fmla="*/ 67 h 111"/>
                <a:gd name="T2" fmla="*/ 80 w 89"/>
                <a:gd name="T3" fmla="*/ 70 h 111"/>
                <a:gd name="T4" fmla="*/ 71 w 89"/>
                <a:gd name="T5" fmla="*/ 68 h 111"/>
                <a:gd name="T6" fmla="*/ 70 w 89"/>
                <a:gd name="T7" fmla="*/ 75 h 111"/>
                <a:gd name="T8" fmla="*/ 72 w 89"/>
                <a:gd name="T9" fmla="*/ 81 h 111"/>
                <a:gd name="T10" fmla="*/ 72 w 89"/>
                <a:gd name="T11" fmla="*/ 86 h 111"/>
                <a:gd name="T12" fmla="*/ 74 w 89"/>
                <a:gd name="T13" fmla="*/ 92 h 111"/>
                <a:gd name="T14" fmla="*/ 65 w 89"/>
                <a:gd name="T15" fmla="*/ 97 h 111"/>
                <a:gd name="T16" fmla="*/ 64 w 89"/>
                <a:gd name="T17" fmla="*/ 106 h 111"/>
                <a:gd name="T18" fmla="*/ 59 w 89"/>
                <a:gd name="T19" fmla="*/ 111 h 111"/>
                <a:gd name="T20" fmla="*/ 51 w 89"/>
                <a:gd name="T21" fmla="*/ 109 h 111"/>
                <a:gd name="T22" fmla="*/ 46 w 89"/>
                <a:gd name="T23" fmla="*/ 103 h 111"/>
                <a:gd name="T24" fmla="*/ 39 w 89"/>
                <a:gd name="T25" fmla="*/ 107 h 111"/>
                <a:gd name="T26" fmla="*/ 33 w 89"/>
                <a:gd name="T27" fmla="*/ 110 h 111"/>
                <a:gd name="T28" fmla="*/ 31 w 89"/>
                <a:gd name="T29" fmla="*/ 111 h 111"/>
                <a:gd name="T30" fmla="*/ 22 w 89"/>
                <a:gd name="T31" fmla="*/ 103 h 111"/>
                <a:gd name="T32" fmla="*/ 18 w 89"/>
                <a:gd name="T33" fmla="*/ 104 h 111"/>
                <a:gd name="T34" fmla="*/ 18 w 89"/>
                <a:gd name="T35" fmla="*/ 98 h 111"/>
                <a:gd name="T36" fmla="*/ 17 w 89"/>
                <a:gd name="T37" fmla="*/ 74 h 111"/>
                <a:gd name="T38" fmla="*/ 8 w 89"/>
                <a:gd name="T39" fmla="*/ 55 h 111"/>
                <a:gd name="T40" fmla="*/ 7 w 89"/>
                <a:gd name="T41" fmla="*/ 42 h 111"/>
                <a:gd name="T42" fmla="*/ 2 w 89"/>
                <a:gd name="T43" fmla="*/ 32 h 111"/>
                <a:gd name="T44" fmla="*/ 3 w 89"/>
                <a:gd name="T45" fmla="*/ 22 h 111"/>
                <a:gd name="T46" fmla="*/ 6 w 89"/>
                <a:gd name="T47" fmla="*/ 14 h 111"/>
                <a:gd name="T48" fmla="*/ 13 w 89"/>
                <a:gd name="T49" fmla="*/ 21 h 111"/>
                <a:gd name="T50" fmla="*/ 21 w 89"/>
                <a:gd name="T51" fmla="*/ 25 h 111"/>
                <a:gd name="T52" fmla="*/ 26 w 89"/>
                <a:gd name="T53" fmla="*/ 19 h 111"/>
                <a:gd name="T54" fmla="*/ 38 w 89"/>
                <a:gd name="T55" fmla="*/ 18 h 111"/>
                <a:gd name="T56" fmla="*/ 47 w 89"/>
                <a:gd name="T57" fmla="*/ 18 h 111"/>
                <a:gd name="T58" fmla="*/ 43 w 89"/>
                <a:gd name="T59" fmla="*/ 4 h 111"/>
                <a:gd name="T60" fmla="*/ 54 w 89"/>
                <a:gd name="T61" fmla="*/ 5 h 111"/>
                <a:gd name="T62" fmla="*/ 61 w 89"/>
                <a:gd name="T63" fmla="*/ 3 h 111"/>
                <a:gd name="T64" fmla="*/ 61 w 89"/>
                <a:gd name="T65" fmla="*/ 3 h 111"/>
                <a:gd name="T66" fmla="*/ 64 w 89"/>
                <a:gd name="T67" fmla="*/ 20 h 111"/>
                <a:gd name="T68" fmla="*/ 72 w 89"/>
                <a:gd name="T69" fmla="*/ 21 h 111"/>
                <a:gd name="T70" fmla="*/ 82 w 89"/>
                <a:gd name="T71" fmla="*/ 31 h 111"/>
                <a:gd name="T72" fmla="*/ 80 w 89"/>
                <a:gd name="T73" fmla="*/ 35 h 111"/>
                <a:gd name="T74" fmla="*/ 78 w 89"/>
                <a:gd name="T75" fmla="*/ 43 h 111"/>
                <a:gd name="T76" fmla="*/ 89 w 89"/>
                <a:gd name="T77" fmla="*/ 55 h 111"/>
                <a:gd name="T78" fmla="*/ 88 w 89"/>
                <a:gd name="T79" fmla="*/ 67 h 111"/>
                <a:gd name="T80" fmla="*/ 28 w 89"/>
                <a:gd name="T81" fmla="*/ 53 h 111"/>
                <a:gd name="T82" fmla="*/ 29 w 89"/>
                <a:gd name="T83" fmla="*/ 62 h 111"/>
                <a:gd name="T84" fmla="*/ 36 w 89"/>
                <a:gd name="T85" fmla="*/ 67 h 111"/>
                <a:gd name="T86" fmla="*/ 44 w 89"/>
                <a:gd name="T87" fmla="*/ 71 h 111"/>
                <a:gd name="T88" fmla="*/ 38 w 89"/>
                <a:gd name="T89" fmla="*/ 76 h 111"/>
                <a:gd name="T90" fmla="*/ 36 w 89"/>
                <a:gd name="T91" fmla="*/ 84 h 111"/>
                <a:gd name="T92" fmla="*/ 34 w 89"/>
                <a:gd name="T93" fmla="*/ 90 h 111"/>
                <a:gd name="T94" fmla="*/ 24 w 89"/>
                <a:gd name="T95" fmla="*/ 91 h 111"/>
                <a:gd name="T96" fmla="*/ 30 w 89"/>
                <a:gd name="T97" fmla="*/ 101 h 111"/>
                <a:gd name="T98" fmla="*/ 39 w 89"/>
                <a:gd name="T99" fmla="*/ 94 h 111"/>
                <a:gd name="T100" fmla="*/ 50 w 89"/>
                <a:gd name="T101" fmla="*/ 85 h 111"/>
                <a:gd name="T102" fmla="*/ 54 w 89"/>
                <a:gd name="T103" fmla="*/ 79 h 111"/>
                <a:gd name="T104" fmla="*/ 50 w 89"/>
                <a:gd name="T105" fmla="*/ 67 h 111"/>
                <a:gd name="T106" fmla="*/ 43 w 89"/>
                <a:gd name="T107" fmla="*/ 60 h 111"/>
                <a:gd name="T108" fmla="*/ 34 w 89"/>
                <a:gd name="T109" fmla="*/ 55 h 111"/>
                <a:gd name="T110" fmla="*/ 28 w 89"/>
                <a:gd name="T111" fmla="*/ 5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9" h="111">
                  <a:moveTo>
                    <a:pt x="88" y="67"/>
                  </a:moveTo>
                  <a:cubicBezTo>
                    <a:pt x="85" y="68"/>
                    <a:pt x="82" y="71"/>
                    <a:pt x="80" y="70"/>
                  </a:cubicBezTo>
                  <a:cubicBezTo>
                    <a:pt x="77" y="69"/>
                    <a:pt x="74" y="65"/>
                    <a:pt x="71" y="68"/>
                  </a:cubicBezTo>
                  <a:cubicBezTo>
                    <a:pt x="68" y="71"/>
                    <a:pt x="72" y="74"/>
                    <a:pt x="70" y="75"/>
                  </a:cubicBezTo>
                  <a:cubicBezTo>
                    <a:pt x="68" y="77"/>
                    <a:pt x="71" y="80"/>
                    <a:pt x="72" y="81"/>
                  </a:cubicBezTo>
                  <a:cubicBezTo>
                    <a:pt x="73" y="82"/>
                    <a:pt x="73" y="85"/>
                    <a:pt x="72" y="86"/>
                  </a:cubicBezTo>
                  <a:cubicBezTo>
                    <a:pt x="71" y="88"/>
                    <a:pt x="75" y="91"/>
                    <a:pt x="74" y="92"/>
                  </a:cubicBezTo>
                  <a:cubicBezTo>
                    <a:pt x="73" y="93"/>
                    <a:pt x="65" y="97"/>
                    <a:pt x="65" y="97"/>
                  </a:cubicBezTo>
                  <a:cubicBezTo>
                    <a:pt x="65" y="97"/>
                    <a:pt x="66" y="104"/>
                    <a:pt x="64" y="106"/>
                  </a:cubicBezTo>
                  <a:cubicBezTo>
                    <a:pt x="63" y="109"/>
                    <a:pt x="60" y="111"/>
                    <a:pt x="59" y="111"/>
                  </a:cubicBezTo>
                  <a:cubicBezTo>
                    <a:pt x="57" y="111"/>
                    <a:pt x="52" y="111"/>
                    <a:pt x="51" y="109"/>
                  </a:cubicBezTo>
                  <a:cubicBezTo>
                    <a:pt x="50" y="108"/>
                    <a:pt x="48" y="103"/>
                    <a:pt x="46" y="103"/>
                  </a:cubicBezTo>
                  <a:cubicBezTo>
                    <a:pt x="44" y="104"/>
                    <a:pt x="40" y="106"/>
                    <a:pt x="39" y="107"/>
                  </a:cubicBezTo>
                  <a:cubicBezTo>
                    <a:pt x="38" y="107"/>
                    <a:pt x="34" y="108"/>
                    <a:pt x="33" y="110"/>
                  </a:cubicBezTo>
                  <a:cubicBezTo>
                    <a:pt x="32" y="110"/>
                    <a:pt x="32" y="111"/>
                    <a:pt x="31" y="111"/>
                  </a:cubicBezTo>
                  <a:cubicBezTo>
                    <a:pt x="28" y="108"/>
                    <a:pt x="24" y="105"/>
                    <a:pt x="22" y="103"/>
                  </a:cubicBezTo>
                  <a:cubicBezTo>
                    <a:pt x="22" y="102"/>
                    <a:pt x="20" y="103"/>
                    <a:pt x="18" y="104"/>
                  </a:cubicBezTo>
                  <a:cubicBezTo>
                    <a:pt x="18" y="102"/>
                    <a:pt x="18" y="100"/>
                    <a:pt x="18" y="98"/>
                  </a:cubicBezTo>
                  <a:cubicBezTo>
                    <a:pt x="18" y="93"/>
                    <a:pt x="18" y="80"/>
                    <a:pt x="17" y="74"/>
                  </a:cubicBezTo>
                  <a:cubicBezTo>
                    <a:pt x="17" y="69"/>
                    <a:pt x="9" y="58"/>
                    <a:pt x="8" y="55"/>
                  </a:cubicBezTo>
                  <a:cubicBezTo>
                    <a:pt x="8" y="51"/>
                    <a:pt x="11" y="46"/>
                    <a:pt x="7" y="42"/>
                  </a:cubicBezTo>
                  <a:cubicBezTo>
                    <a:pt x="4" y="39"/>
                    <a:pt x="0" y="36"/>
                    <a:pt x="2" y="32"/>
                  </a:cubicBezTo>
                  <a:cubicBezTo>
                    <a:pt x="4" y="28"/>
                    <a:pt x="6" y="25"/>
                    <a:pt x="3" y="22"/>
                  </a:cubicBezTo>
                  <a:cubicBezTo>
                    <a:pt x="0" y="19"/>
                    <a:pt x="4" y="14"/>
                    <a:pt x="6" y="14"/>
                  </a:cubicBezTo>
                  <a:cubicBezTo>
                    <a:pt x="9" y="14"/>
                    <a:pt x="12" y="17"/>
                    <a:pt x="13" y="21"/>
                  </a:cubicBezTo>
                  <a:cubicBezTo>
                    <a:pt x="14" y="26"/>
                    <a:pt x="21" y="29"/>
                    <a:pt x="21" y="25"/>
                  </a:cubicBezTo>
                  <a:cubicBezTo>
                    <a:pt x="22" y="21"/>
                    <a:pt x="22" y="19"/>
                    <a:pt x="26" y="19"/>
                  </a:cubicBezTo>
                  <a:cubicBezTo>
                    <a:pt x="30" y="19"/>
                    <a:pt x="35" y="20"/>
                    <a:pt x="38" y="18"/>
                  </a:cubicBezTo>
                  <a:cubicBezTo>
                    <a:pt x="41" y="16"/>
                    <a:pt x="48" y="25"/>
                    <a:pt x="47" y="18"/>
                  </a:cubicBezTo>
                  <a:cubicBezTo>
                    <a:pt x="45" y="11"/>
                    <a:pt x="41" y="7"/>
                    <a:pt x="43" y="4"/>
                  </a:cubicBezTo>
                  <a:cubicBezTo>
                    <a:pt x="46" y="1"/>
                    <a:pt x="54" y="0"/>
                    <a:pt x="54" y="5"/>
                  </a:cubicBezTo>
                  <a:cubicBezTo>
                    <a:pt x="55" y="9"/>
                    <a:pt x="59" y="4"/>
                    <a:pt x="61" y="3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2" y="8"/>
                    <a:pt x="64" y="19"/>
                    <a:pt x="64" y="20"/>
                  </a:cubicBezTo>
                  <a:cubicBezTo>
                    <a:pt x="65" y="22"/>
                    <a:pt x="70" y="22"/>
                    <a:pt x="72" y="21"/>
                  </a:cubicBezTo>
                  <a:cubicBezTo>
                    <a:pt x="75" y="20"/>
                    <a:pt x="82" y="31"/>
                    <a:pt x="82" y="31"/>
                  </a:cubicBezTo>
                  <a:cubicBezTo>
                    <a:pt x="82" y="31"/>
                    <a:pt x="80" y="34"/>
                    <a:pt x="80" y="35"/>
                  </a:cubicBezTo>
                  <a:cubicBezTo>
                    <a:pt x="80" y="36"/>
                    <a:pt x="80" y="43"/>
                    <a:pt x="78" y="43"/>
                  </a:cubicBezTo>
                  <a:cubicBezTo>
                    <a:pt x="77" y="43"/>
                    <a:pt x="89" y="55"/>
                    <a:pt x="89" y="55"/>
                  </a:cubicBezTo>
                  <a:cubicBezTo>
                    <a:pt x="88" y="67"/>
                    <a:pt x="88" y="67"/>
                    <a:pt x="88" y="67"/>
                  </a:cubicBezTo>
                  <a:close/>
                  <a:moveTo>
                    <a:pt x="28" y="53"/>
                  </a:moveTo>
                  <a:cubicBezTo>
                    <a:pt x="27" y="59"/>
                    <a:pt x="28" y="60"/>
                    <a:pt x="29" y="62"/>
                  </a:cubicBezTo>
                  <a:cubicBezTo>
                    <a:pt x="30" y="65"/>
                    <a:pt x="32" y="66"/>
                    <a:pt x="36" y="67"/>
                  </a:cubicBezTo>
                  <a:cubicBezTo>
                    <a:pt x="40" y="68"/>
                    <a:pt x="45" y="67"/>
                    <a:pt x="44" y="71"/>
                  </a:cubicBezTo>
                  <a:cubicBezTo>
                    <a:pt x="43" y="75"/>
                    <a:pt x="41" y="73"/>
                    <a:pt x="38" y="76"/>
                  </a:cubicBezTo>
                  <a:cubicBezTo>
                    <a:pt x="36" y="79"/>
                    <a:pt x="36" y="83"/>
                    <a:pt x="36" y="84"/>
                  </a:cubicBezTo>
                  <a:cubicBezTo>
                    <a:pt x="37" y="85"/>
                    <a:pt x="39" y="90"/>
                    <a:pt x="34" y="90"/>
                  </a:cubicBezTo>
                  <a:cubicBezTo>
                    <a:pt x="29" y="90"/>
                    <a:pt x="24" y="88"/>
                    <a:pt x="24" y="91"/>
                  </a:cubicBezTo>
                  <a:cubicBezTo>
                    <a:pt x="24" y="93"/>
                    <a:pt x="30" y="101"/>
                    <a:pt x="30" y="101"/>
                  </a:cubicBezTo>
                  <a:cubicBezTo>
                    <a:pt x="30" y="101"/>
                    <a:pt x="37" y="98"/>
                    <a:pt x="39" y="94"/>
                  </a:cubicBezTo>
                  <a:cubicBezTo>
                    <a:pt x="41" y="89"/>
                    <a:pt x="49" y="81"/>
                    <a:pt x="50" y="85"/>
                  </a:cubicBezTo>
                  <a:cubicBezTo>
                    <a:pt x="51" y="88"/>
                    <a:pt x="54" y="84"/>
                    <a:pt x="54" y="79"/>
                  </a:cubicBezTo>
                  <a:cubicBezTo>
                    <a:pt x="55" y="73"/>
                    <a:pt x="55" y="72"/>
                    <a:pt x="50" y="67"/>
                  </a:cubicBezTo>
                  <a:cubicBezTo>
                    <a:pt x="45" y="62"/>
                    <a:pt x="49" y="61"/>
                    <a:pt x="43" y="60"/>
                  </a:cubicBezTo>
                  <a:cubicBezTo>
                    <a:pt x="38" y="59"/>
                    <a:pt x="34" y="57"/>
                    <a:pt x="34" y="55"/>
                  </a:cubicBezTo>
                  <a:cubicBezTo>
                    <a:pt x="34" y="53"/>
                    <a:pt x="28" y="53"/>
                    <a:pt x="28" y="5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5" name="Freeform 62"/>
            <p:cNvSpPr>
              <a:spLocks/>
            </p:cNvSpPr>
            <p:nvPr/>
          </p:nvSpPr>
          <p:spPr bwMode="auto">
            <a:xfrm>
              <a:off x="1715" y="3311"/>
              <a:ext cx="289" cy="330"/>
            </a:xfrm>
            <a:custGeom>
              <a:avLst/>
              <a:gdLst>
                <a:gd name="T0" fmla="*/ 64 w 289"/>
                <a:gd name="T1" fmla="*/ 32 h 330"/>
                <a:gd name="T2" fmla="*/ 68 w 289"/>
                <a:gd name="T3" fmla="*/ 19 h 330"/>
                <a:gd name="T4" fmla="*/ 68 w 289"/>
                <a:gd name="T5" fmla="*/ 3 h 330"/>
                <a:gd name="T6" fmla="*/ 89 w 289"/>
                <a:gd name="T7" fmla="*/ 5 h 330"/>
                <a:gd name="T8" fmla="*/ 100 w 289"/>
                <a:gd name="T9" fmla="*/ 0 h 330"/>
                <a:gd name="T10" fmla="*/ 110 w 289"/>
                <a:gd name="T11" fmla="*/ 23 h 330"/>
                <a:gd name="T12" fmla="*/ 131 w 289"/>
                <a:gd name="T13" fmla="*/ 25 h 330"/>
                <a:gd name="T14" fmla="*/ 162 w 289"/>
                <a:gd name="T15" fmla="*/ 36 h 330"/>
                <a:gd name="T16" fmla="*/ 183 w 289"/>
                <a:gd name="T17" fmla="*/ 34 h 330"/>
                <a:gd name="T18" fmla="*/ 198 w 289"/>
                <a:gd name="T19" fmla="*/ 42 h 330"/>
                <a:gd name="T20" fmla="*/ 225 w 289"/>
                <a:gd name="T21" fmla="*/ 36 h 330"/>
                <a:gd name="T22" fmla="*/ 287 w 289"/>
                <a:gd name="T23" fmla="*/ 59 h 330"/>
                <a:gd name="T24" fmla="*/ 275 w 289"/>
                <a:gd name="T25" fmla="*/ 80 h 330"/>
                <a:gd name="T26" fmla="*/ 264 w 289"/>
                <a:gd name="T27" fmla="*/ 111 h 330"/>
                <a:gd name="T28" fmla="*/ 218 w 289"/>
                <a:gd name="T29" fmla="*/ 151 h 330"/>
                <a:gd name="T30" fmla="*/ 208 w 289"/>
                <a:gd name="T31" fmla="*/ 180 h 330"/>
                <a:gd name="T32" fmla="*/ 216 w 289"/>
                <a:gd name="T33" fmla="*/ 205 h 330"/>
                <a:gd name="T34" fmla="*/ 214 w 289"/>
                <a:gd name="T35" fmla="*/ 230 h 330"/>
                <a:gd name="T36" fmla="*/ 185 w 289"/>
                <a:gd name="T37" fmla="*/ 244 h 330"/>
                <a:gd name="T38" fmla="*/ 179 w 289"/>
                <a:gd name="T39" fmla="*/ 265 h 330"/>
                <a:gd name="T40" fmla="*/ 154 w 289"/>
                <a:gd name="T41" fmla="*/ 265 h 330"/>
                <a:gd name="T42" fmla="*/ 137 w 289"/>
                <a:gd name="T43" fmla="*/ 288 h 330"/>
                <a:gd name="T44" fmla="*/ 106 w 289"/>
                <a:gd name="T45" fmla="*/ 292 h 330"/>
                <a:gd name="T46" fmla="*/ 87 w 289"/>
                <a:gd name="T47" fmla="*/ 328 h 330"/>
                <a:gd name="T48" fmla="*/ 68 w 289"/>
                <a:gd name="T49" fmla="*/ 328 h 330"/>
                <a:gd name="T50" fmla="*/ 50 w 289"/>
                <a:gd name="T51" fmla="*/ 307 h 330"/>
                <a:gd name="T52" fmla="*/ 31 w 289"/>
                <a:gd name="T53" fmla="*/ 294 h 330"/>
                <a:gd name="T54" fmla="*/ 16 w 289"/>
                <a:gd name="T55" fmla="*/ 273 h 330"/>
                <a:gd name="T56" fmla="*/ 6 w 289"/>
                <a:gd name="T57" fmla="*/ 276 h 330"/>
                <a:gd name="T58" fmla="*/ 0 w 289"/>
                <a:gd name="T59" fmla="*/ 248 h 330"/>
                <a:gd name="T60" fmla="*/ 29 w 289"/>
                <a:gd name="T61" fmla="*/ 213 h 330"/>
                <a:gd name="T62" fmla="*/ 41 w 289"/>
                <a:gd name="T63" fmla="*/ 186 h 330"/>
                <a:gd name="T64" fmla="*/ 31 w 289"/>
                <a:gd name="T65" fmla="*/ 151 h 330"/>
                <a:gd name="T66" fmla="*/ 60 w 289"/>
                <a:gd name="T67" fmla="*/ 142 h 330"/>
                <a:gd name="T68" fmla="*/ 62 w 289"/>
                <a:gd name="T69" fmla="*/ 117 h 330"/>
                <a:gd name="T70" fmla="*/ 66 w 289"/>
                <a:gd name="T71" fmla="*/ 96 h 330"/>
                <a:gd name="T72" fmla="*/ 91 w 289"/>
                <a:gd name="T73" fmla="*/ 61 h 330"/>
                <a:gd name="T74" fmla="*/ 56 w 289"/>
                <a:gd name="T75" fmla="*/ 34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9" h="330">
                  <a:moveTo>
                    <a:pt x="56" y="34"/>
                  </a:moveTo>
                  <a:lnTo>
                    <a:pt x="64" y="32"/>
                  </a:lnTo>
                  <a:lnTo>
                    <a:pt x="68" y="28"/>
                  </a:lnTo>
                  <a:lnTo>
                    <a:pt x="68" y="19"/>
                  </a:lnTo>
                  <a:lnTo>
                    <a:pt x="62" y="15"/>
                  </a:lnTo>
                  <a:lnTo>
                    <a:pt x="68" y="3"/>
                  </a:lnTo>
                  <a:lnTo>
                    <a:pt x="85" y="9"/>
                  </a:lnTo>
                  <a:lnTo>
                    <a:pt x="89" y="5"/>
                  </a:lnTo>
                  <a:lnTo>
                    <a:pt x="93" y="7"/>
                  </a:lnTo>
                  <a:lnTo>
                    <a:pt x="100" y="0"/>
                  </a:lnTo>
                  <a:lnTo>
                    <a:pt x="112" y="9"/>
                  </a:lnTo>
                  <a:lnTo>
                    <a:pt x="110" y="23"/>
                  </a:lnTo>
                  <a:lnTo>
                    <a:pt x="120" y="30"/>
                  </a:lnTo>
                  <a:lnTo>
                    <a:pt x="131" y="25"/>
                  </a:lnTo>
                  <a:lnTo>
                    <a:pt x="152" y="42"/>
                  </a:lnTo>
                  <a:lnTo>
                    <a:pt x="162" y="36"/>
                  </a:lnTo>
                  <a:lnTo>
                    <a:pt x="177" y="44"/>
                  </a:lnTo>
                  <a:lnTo>
                    <a:pt x="183" y="34"/>
                  </a:lnTo>
                  <a:lnTo>
                    <a:pt x="191" y="38"/>
                  </a:lnTo>
                  <a:lnTo>
                    <a:pt x="198" y="42"/>
                  </a:lnTo>
                  <a:lnTo>
                    <a:pt x="208" y="30"/>
                  </a:lnTo>
                  <a:lnTo>
                    <a:pt x="225" y="36"/>
                  </a:lnTo>
                  <a:lnTo>
                    <a:pt x="262" y="57"/>
                  </a:lnTo>
                  <a:lnTo>
                    <a:pt x="287" y="59"/>
                  </a:lnTo>
                  <a:lnTo>
                    <a:pt x="289" y="73"/>
                  </a:lnTo>
                  <a:lnTo>
                    <a:pt x="275" y="80"/>
                  </a:lnTo>
                  <a:lnTo>
                    <a:pt x="275" y="98"/>
                  </a:lnTo>
                  <a:lnTo>
                    <a:pt x="264" y="111"/>
                  </a:lnTo>
                  <a:lnTo>
                    <a:pt x="237" y="151"/>
                  </a:lnTo>
                  <a:lnTo>
                    <a:pt x="218" y="151"/>
                  </a:lnTo>
                  <a:lnTo>
                    <a:pt x="210" y="163"/>
                  </a:lnTo>
                  <a:lnTo>
                    <a:pt x="208" y="180"/>
                  </a:lnTo>
                  <a:lnTo>
                    <a:pt x="216" y="190"/>
                  </a:lnTo>
                  <a:lnTo>
                    <a:pt x="216" y="205"/>
                  </a:lnTo>
                  <a:lnTo>
                    <a:pt x="204" y="217"/>
                  </a:lnTo>
                  <a:lnTo>
                    <a:pt x="214" y="230"/>
                  </a:lnTo>
                  <a:lnTo>
                    <a:pt x="200" y="244"/>
                  </a:lnTo>
                  <a:lnTo>
                    <a:pt x="185" y="244"/>
                  </a:lnTo>
                  <a:lnTo>
                    <a:pt x="170" y="253"/>
                  </a:lnTo>
                  <a:lnTo>
                    <a:pt x="179" y="265"/>
                  </a:lnTo>
                  <a:lnTo>
                    <a:pt x="166" y="276"/>
                  </a:lnTo>
                  <a:lnTo>
                    <a:pt x="154" y="265"/>
                  </a:lnTo>
                  <a:lnTo>
                    <a:pt x="143" y="269"/>
                  </a:lnTo>
                  <a:lnTo>
                    <a:pt x="137" y="288"/>
                  </a:lnTo>
                  <a:lnTo>
                    <a:pt x="127" y="294"/>
                  </a:lnTo>
                  <a:lnTo>
                    <a:pt x="106" y="292"/>
                  </a:lnTo>
                  <a:lnTo>
                    <a:pt x="102" y="311"/>
                  </a:lnTo>
                  <a:lnTo>
                    <a:pt x="87" y="328"/>
                  </a:lnTo>
                  <a:lnTo>
                    <a:pt x="87" y="330"/>
                  </a:lnTo>
                  <a:lnTo>
                    <a:pt x="68" y="328"/>
                  </a:lnTo>
                  <a:lnTo>
                    <a:pt x="62" y="307"/>
                  </a:lnTo>
                  <a:lnTo>
                    <a:pt x="50" y="307"/>
                  </a:lnTo>
                  <a:lnTo>
                    <a:pt x="43" y="292"/>
                  </a:lnTo>
                  <a:lnTo>
                    <a:pt x="31" y="294"/>
                  </a:lnTo>
                  <a:lnTo>
                    <a:pt x="16" y="284"/>
                  </a:lnTo>
                  <a:lnTo>
                    <a:pt x="16" y="273"/>
                  </a:lnTo>
                  <a:lnTo>
                    <a:pt x="8" y="273"/>
                  </a:lnTo>
                  <a:lnTo>
                    <a:pt x="6" y="276"/>
                  </a:lnTo>
                  <a:lnTo>
                    <a:pt x="0" y="261"/>
                  </a:lnTo>
                  <a:lnTo>
                    <a:pt x="0" y="248"/>
                  </a:lnTo>
                  <a:lnTo>
                    <a:pt x="25" y="240"/>
                  </a:lnTo>
                  <a:lnTo>
                    <a:pt x="29" y="213"/>
                  </a:lnTo>
                  <a:lnTo>
                    <a:pt x="31" y="196"/>
                  </a:lnTo>
                  <a:lnTo>
                    <a:pt x="41" y="186"/>
                  </a:lnTo>
                  <a:lnTo>
                    <a:pt x="43" y="153"/>
                  </a:lnTo>
                  <a:lnTo>
                    <a:pt x="31" y="151"/>
                  </a:lnTo>
                  <a:lnTo>
                    <a:pt x="47" y="155"/>
                  </a:lnTo>
                  <a:lnTo>
                    <a:pt x="60" y="142"/>
                  </a:lnTo>
                  <a:lnTo>
                    <a:pt x="62" y="126"/>
                  </a:lnTo>
                  <a:lnTo>
                    <a:pt x="62" y="117"/>
                  </a:lnTo>
                  <a:lnTo>
                    <a:pt x="58" y="109"/>
                  </a:lnTo>
                  <a:lnTo>
                    <a:pt x="66" y="96"/>
                  </a:lnTo>
                  <a:lnTo>
                    <a:pt x="91" y="75"/>
                  </a:lnTo>
                  <a:lnTo>
                    <a:pt x="91" y="61"/>
                  </a:lnTo>
                  <a:lnTo>
                    <a:pt x="79" y="50"/>
                  </a:lnTo>
                  <a:lnTo>
                    <a:pt x="56" y="34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6" name="Freeform 63"/>
            <p:cNvSpPr>
              <a:spLocks noEditPoints="1"/>
            </p:cNvSpPr>
            <p:nvPr/>
          </p:nvSpPr>
          <p:spPr bwMode="auto">
            <a:xfrm>
              <a:off x="2632" y="2276"/>
              <a:ext cx="739" cy="1888"/>
            </a:xfrm>
            <a:custGeom>
              <a:avLst/>
              <a:gdLst>
                <a:gd name="T0" fmla="*/ 94 w 355"/>
                <a:gd name="T1" fmla="*/ 769 h 906"/>
                <a:gd name="T2" fmla="*/ 111 w 355"/>
                <a:gd name="T3" fmla="*/ 813 h 906"/>
                <a:gd name="T4" fmla="*/ 139 w 355"/>
                <a:gd name="T5" fmla="*/ 829 h 906"/>
                <a:gd name="T6" fmla="*/ 142 w 355"/>
                <a:gd name="T7" fmla="*/ 873 h 906"/>
                <a:gd name="T8" fmla="*/ 176 w 355"/>
                <a:gd name="T9" fmla="*/ 896 h 906"/>
                <a:gd name="T10" fmla="*/ 198 w 355"/>
                <a:gd name="T11" fmla="*/ 859 h 906"/>
                <a:gd name="T12" fmla="*/ 233 w 355"/>
                <a:gd name="T13" fmla="*/ 846 h 906"/>
                <a:gd name="T14" fmla="*/ 228 w 355"/>
                <a:gd name="T15" fmla="*/ 816 h 906"/>
                <a:gd name="T16" fmla="*/ 233 w 355"/>
                <a:gd name="T17" fmla="*/ 775 h 906"/>
                <a:gd name="T18" fmla="*/ 240 w 355"/>
                <a:gd name="T19" fmla="*/ 736 h 906"/>
                <a:gd name="T20" fmla="*/ 273 w 355"/>
                <a:gd name="T21" fmla="*/ 717 h 906"/>
                <a:gd name="T22" fmla="*/ 305 w 355"/>
                <a:gd name="T23" fmla="*/ 687 h 906"/>
                <a:gd name="T24" fmla="*/ 329 w 355"/>
                <a:gd name="T25" fmla="*/ 681 h 906"/>
                <a:gd name="T26" fmla="*/ 338 w 355"/>
                <a:gd name="T27" fmla="*/ 649 h 906"/>
                <a:gd name="T28" fmla="*/ 324 w 355"/>
                <a:gd name="T29" fmla="*/ 606 h 906"/>
                <a:gd name="T30" fmla="*/ 342 w 355"/>
                <a:gd name="T31" fmla="*/ 567 h 906"/>
                <a:gd name="T32" fmla="*/ 342 w 355"/>
                <a:gd name="T33" fmla="*/ 521 h 906"/>
                <a:gd name="T34" fmla="*/ 340 w 355"/>
                <a:gd name="T35" fmla="*/ 510 h 906"/>
                <a:gd name="T36" fmla="*/ 318 w 355"/>
                <a:gd name="T37" fmla="*/ 501 h 906"/>
                <a:gd name="T38" fmla="*/ 307 w 355"/>
                <a:gd name="T39" fmla="*/ 454 h 906"/>
                <a:gd name="T40" fmla="*/ 304 w 355"/>
                <a:gd name="T41" fmla="*/ 431 h 906"/>
                <a:gd name="T42" fmla="*/ 291 w 355"/>
                <a:gd name="T43" fmla="*/ 361 h 906"/>
                <a:gd name="T44" fmla="*/ 315 w 355"/>
                <a:gd name="T45" fmla="*/ 335 h 906"/>
                <a:gd name="T46" fmla="*/ 336 w 355"/>
                <a:gd name="T47" fmla="*/ 300 h 906"/>
                <a:gd name="T48" fmla="*/ 313 w 355"/>
                <a:gd name="T49" fmla="*/ 261 h 906"/>
                <a:gd name="T50" fmla="*/ 296 w 355"/>
                <a:gd name="T51" fmla="*/ 220 h 906"/>
                <a:gd name="T52" fmla="*/ 269 w 355"/>
                <a:gd name="T53" fmla="*/ 248 h 906"/>
                <a:gd name="T54" fmla="*/ 284 w 355"/>
                <a:gd name="T55" fmla="*/ 210 h 906"/>
                <a:gd name="T56" fmla="*/ 298 w 355"/>
                <a:gd name="T57" fmla="*/ 150 h 906"/>
                <a:gd name="T58" fmla="*/ 238 w 355"/>
                <a:gd name="T59" fmla="*/ 145 h 906"/>
                <a:gd name="T60" fmla="*/ 196 w 355"/>
                <a:gd name="T61" fmla="*/ 138 h 906"/>
                <a:gd name="T62" fmla="*/ 159 w 355"/>
                <a:gd name="T63" fmla="*/ 172 h 906"/>
                <a:gd name="T64" fmla="*/ 91 w 355"/>
                <a:gd name="T65" fmla="*/ 213 h 906"/>
                <a:gd name="T66" fmla="*/ 63 w 355"/>
                <a:gd name="T67" fmla="*/ 250 h 906"/>
                <a:gd name="T68" fmla="*/ 48 w 355"/>
                <a:gd name="T69" fmla="*/ 330 h 906"/>
                <a:gd name="T70" fmla="*/ 47 w 355"/>
                <a:gd name="T71" fmla="*/ 309 h 906"/>
                <a:gd name="T72" fmla="*/ 22 w 355"/>
                <a:gd name="T73" fmla="*/ 304 h 906"/>
                <a:gd name="T74" fmla="*/ 21 w 355"/>
                <a:gd name="T75" fmla="*/ 348 h 906"/>
                <a:gd name="T76" fmla="*/ 15 w 355"/>
                <a:gd name="T77" fmla="*/ 382 h 906"/>
                <a:gd name="T78" fmla="*/ 33 w 355"/>
                <a:gd name="T79" fmla="*/ 388 h 906"/>
                <a:gd name="T80" fmla="*/ 24 w 355"/>
                <a:gd name="T81" fmla="*/ 426 h 906"/>
                <a:gd name="T82" fmla="*/ 34 w 355"/>
                <a:gd name="T83" fmla="*/ 458 h 906"/>
                <a:gd name="T84" fmla="*/ 35 w 355"/>
                <a:gd name="T85" fmla="*/ 492 h 906"/>
                <a:gd name="T86" fmla="*/ 53 w 355"/>
                <a:gd name="T87" fmla="*/ 520 h 906"/>
                <a:gd name="T88" fmla="*/ 51 w 355"/>
                <a:gd name="T89" fmla="*/ 559 h 906"/>
                <a:gd name="T90" fmla="*/ 41 w 355"/>
                <a:gd name="T91" fmla="*/ 608 h 906"/>
                <a:gd name="T92" fmla="*/ 35 w 355"/>
                <a:gd name="T93" fmla="*/ 660 h 906"/>
                <a:gd name="T94" fmla="*/ 84 w 355"/>
                <a:gd name="T95" fmla="*/ 689 h 906"/>
                <a:gd name="T96" fmla="*/ 99 w 355"/>
                <a:gd name="T97" fmla="*/ 726 h 906"/>
                <a:gd name="T98" fmla="*/ 188 w 355"/>
                <a:gd name="T99" fmla="*/ 63 h 906"/>
                <a:gd name="T100" fmla="*/ 216 w 355"/>
                <a:gd name="T101" fmla="*/ 87 h 906"/>
                <a:gd name="T102" fmla="*/ 138 w 355"/>
                <a:gd name="T103" fmla="*/ 50 h 906"/>
                <a:gd name="T104" fmla="*/ 130 w 355"/>
                <a:gd name="T105" fmla="*/ 16 h 906"/>
                <a:gd name="T106" fmla="*/ 145 w 355"/>
                <a:gd name="T107" fmla="*/ 40 h 906"/>
                <a:gd name="T108" fmla="*/ 178 w 355"/>
                <a:gd name="T109" fmla="*/ 76 h 906"/>
                <a:gd name="T110" fmla="*/ 138 w 355"/>
                <a:gd name="T111" fmla="*/ 50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5" h="906">
                  <a:moveTo>
                    <a:pt x="0" y="326"/>
                  </a:move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lose/>
                  <a:moveTo>
                    <a:pt x="93" y="758"/>
                  </a:moveTo>
                  <a:cubicBezTo>
                    <a:pt x="94" y="769"/>
                    <a:pt x="94" y="769"/>
                    <a:pt x="94" y="769"/>
                  </a:cubicBezTo>
                  <a:cubicBezTo>
                    <a:pt x="101" y="775"/>
                    <a:pt x="101" y="775"/>
                    <a:pt x="101" y="775"/>
                  </a:cubicBezTo>
                  <a:cubicBezTo>
                    <a:pt x="105" y="781"/>
                    <a:pt x="105" y="781"/>
                    <a:pt x="105" y="781"/>
                  </a:cubicBezTo>
                  <a:cubicBezTo>
                    <a:pt x="105" y="792"/>
                    <a:pt x="105" y="792"/>
                    <a:pt x="105" y="792"/>
                  </a:cubicBezTo>
                  <a:cubicBezTo>
                    <a:pt x="97" y="799"/>
                    <a:pt x="97" y="799"/>
                    <a:pt x="97" y="799"/>
                  </a:cubicBezTo>
                  <a:cubicBezTo>
                    <a:pt x="105" y="813"/>
                    <a:pt x="105" y="813"/>
                    <a:pt x="105" y="813"/>
                  </a:cubicBezTo>
                  <a:cubicBezTo>
                    <a:pt x="111" y="813"/>
                    <a:pt x="111" y="813"/>
                    <a:pt x="111" y="813"/>
                  </a:cubicBezTo>
                  <a:cubicBezTo>
                    <a:pt x="115" y="810"/>
                    <a:pt x="115" y="810"/>
                    <a:pt x="115" y="810"/>
                  </a:cubicBezTo>
                  <a:cubicBezTo>
                    <a:pt x="128" y="813"/>
                    <a:pt x="128" y="813"/>
                    <a:pt x="128" y="813"/>
                  </a:cubicBezTo>
                  <a:cubicBezTo>
                    <a:pt x="132" y="811"/>
                    <a:pt x="132" y="811"/>
                    <a:pt x="132" y="811"/>
                  </a:cubicBezTo>
                  <a:cubicBezTo>
                    <a:pt x="135" y="816"/>
                    <a:pt x="135" y="816"/>
                    <a:pt x="135" y="816"/>
                  </a:cubicBezTo>
                  <a:cubicBezTo>
                    <a:pt x="132" y="822"/>
                    <a:pt x="132" y="822"/>
                    <a:pt x="132" y="822"/>
                  </a:cubicBezTo>
                  <a:cubicBezTo>
                    <a:pt x="139" y="829"/>
                    <a:pt x="139" y="829"/>
                    <a:pt x="139" y="829"/>
                  </a:cubicBezTo>
                  <a:cubicBezTo>
                    <a:pt x="139" y="838"/>
                    <a:pt x="139" y="838"/>
                    <a:pt x="139" y="838"/>
                  </a:cubicBezTo>
                  <a:cubicBezTo>
                    <a:pt x="148" y="845"/>
                    <a:pt x="148" y="845"/>
                    <a:pt x="148" y="845"/>
                  </a:cubicBezTo>
                  <a:cubicBezTo>
                    <a:pt x="147" y="854"/>
                    <a:pt x="147" y="854"/>
                    <a:pt x="147" y="854"/>
                  </a:cubicBezTo>
                  <a:cubicBezTo>
                    <a:pt x="150" y="860"/>
                    <a:pt x="150" y="860"/>
                    <a:pt x="150" y="860"/>
                  </a:cubicBezTo>
                  <a:cubicBezTo>
                    <a:pt x="141" y="868"/>
                    <a:pt x="141" y="868"/>
                    <a:pt x="141" y="868"/>
                  </a:cubicBezTo>
                  <a:cubicBezTo>
                    <a:pt x="142" y="873"/>
                    <a:pt x="142" y="873"/>
                    <a:pt x="142" y="873"/>
                  </a:cubicBezTo>
                  <a:cubicBezTo>
                    <a:pt x="130" y="884"/>
                    <a:pt x="130" y="884"/>
                    <a:pt x="130" y="884"/>
                  </a:cubicBezTo>
                  <a:cubicBezTo>
                    <a:pt x="125" y="898"/>
                    <a:pt x="125" y="898"/>
                    <a:pt x="125" y="898"/>
                  </a:cubicBezTo>
                  <a:cubicBezTo>
                    <a:pt x="137" y="905"/>
                    <a:pt x="137" y="905"/>
                    <a:pt x="137" y="905"/>
                  </a:cubicBezTo>
                  <a:cubicBezTo>
                    <a:pt x="151" y="906"/>
                    <a:pt x="151" y="906"/>
                    <a:pt x="151" y="906"/>
                  </a:cubicBezTo>
                  <a:cubicBezTo>
                    <a:pt x="164" y="905"/>
                    <a:pt x="164" y="905"/>
                    <a:pt x="164" y="905"/>
                  </a:cubicBezTo>
                  <a:cubicBezTo>
                    <a:pt x="176" y="896"/>
                    <a:pt x="176" y="896"/>
                    <a:pt x="176" y="896"/>
                  </a:cubicBezTo>
                  <a:cubicBezTo>
                    <a:pt x="183" y="896"/>
                    <a:pt x="183" y="896"/>
                    <a:pt x="183" y="896"/>
                  </a:cubicBezTo>
                  <a:cubicBezTo>
                    <a:pt x="183" y="886"/>
                    <a:pt x="183" y="886"/>
                    <a:pt x="183" y="886"/>
                  </a:cubicBezTo>
                  <a:cubicBezTo>
                    <a:pt x="189" y="881"/>
                    <a:pt x="189" y="881"/>
                    <a:pt x="189" y="881"/>
                  </a:cubicBezTo>
                  <a:cubicBezTo>
                    <a:pt x="188" y="875"/>
                    <a:pt x="188" y="875"/>
                    <a:pt x="188" y="875"/>
                  </a:cubicBezTo>
                  <a:cubicBezTo>
                    <a:pt x="196" y="872"/>
                    <a:pt x="196" y="872"/>
                    <a:pt x="196" y="872"/>
                  </a:cubicBezTo>
                  <a:cubicBezTo>
                    <a:pt x="198" y="859"/>
                    <a:pt x="198" y="859"/>
                    <a:pt x="198" y="859"/>
                  </a:cubicBezTo>
                  <a:cubicBezTo>
                    <a:pt x="206" y="857"/>
                    <a:pt x="206" y="857"/>
                    <a:pt x="206" y="857"/>
                  </a:cubicBezTo>
                  <a:cubicBezTo>
                    <a:pt x="212" y="857"/>
                    <a:pt x="212" y="857"/>
                    <a:pt x="212" y="857"/>
                  </a:cubicBezTo>
                  <a:cubicBezTo>
                    <a:pt x="215" y="854"/>
                    <a:pt x="215" y="854"/>
                    <a:pt x="215" y="854"/>
                  </a:cubicBezTo>
                  <a:cubicBezTo>
                    <a:pt x="225" y="852"/>
                    <a:pt x="225" y="852"/>
                    <a:pt x="225" y="852"/>
                  </a:cubicBezTo>
                  <a:cubicBezTo>
                    <a:pt x="231" y="850"/>
                    <a:pt x="231" y="850"/>
                    <a:pt x="231" y="850"/>
                  </a:cubicBezTo>
                  <a:cubicBezTo>
                    <a:pt x="233" y="846"/>
                    <a:pt x="233" y="846"/>
                    <a:pt x="233" y="846"/>
                  </a:cubicBezTo>
                  <a:cubicBezTo>
                    <a:pt x="214" y="836"/>
                    <a:pt x="214" y="836"/>
                    <a:pt x="214" y="836"/>
                  </a:cubicBezTo>
                  <a:cubicBezTo>
                    <a:pt x="212" y="827"/>
                    <a:pt x="212" y="827"/>
                    <a:pt x="212" y="827"/>
                  </a:cubicBezTo>
                  <a:cubicBezTo>
                    <a:pt x="216" y="825"/>
                    <a:pt x="216" y="825"/>
                    <a:pt x="216" y="825"/>
                  </a:cubicBezTo>
                  <a:cubicBezTo>
                    <a:pt x="221" y="822"/>
                    <a:pt x="221" y="822"/>
                    <a:pt x="221" y="822"/>
                  </a:cubicBezTo>
                  <a:cubicBezTo>
                    <a:pt x="228" y="821"/>
                    <a:pt x="228" y="821"/>
                    <a:pt x="228" y="821"/>
                  </a:cubicBezTo>
                  <a:cubicBezTo>
                    <a:pt x="228" y="816"/>
                    <a:pt x="228" y="816"/>
                    <a:pt x="228" y="816"/>
                  </a:cubicBezTo>
                  <a:cubicBezTo>
                    <a:pt x="230" y="812"/>
                    <a:pt x="230" y="812"/>
                    <a:pt x="230" y="812"/>
                  </a:cubicBezTo>
                  <a:cubicBezTo>
                    <a:pt x="228" y="801"/>
                    <a:pt x="228" y="801"/>
                    <a:pt x="228" y="801"/>
                  </a:cubicBezTo>
                  <a:cubicBezTo>
                    <a:pt x="231" y="794"/>
                    <a:pt x="231" y="794"/>
                    <a:pt x="231" y="794"/>
                  </a:cubicBezTo>
                  <a:cubicBezTo>
                    <a:pt x="226" y="786"/>
                    <a:pt x="226" y="786"/>
                    <a:pt x="226" y="786"/>
                  </a:cubicBezTo>
                  <a:cubicBezTo>
                    <a:pt x="228" y="776"/>
                    <a:pt x="228" y="776"/>
                    <a:pt x="228" y="776"/>
                  </a:cubicBezTo>
                  <a:cubicBezTo>
                    <a:pt x="233" y="775"/>
                    <a:pt x="233" y="775"/>
                    <a:pt x="233" y="775"/>
                  </a:cubicBezTo>
                  <a:cubicBezTo>
                    <a:pt x="238" y="771"/>
                    <a:pt x="238" y="771"/>
                    <a:pt x="238" y="771"/>
                  </a:cubicBezTo>
                  <a:cubicBezTo>
                    <a:pt x="244" y="765"/>
                    <a:pt x="244" y="765"/>
                    <a:pt x="244" y="765"/>
                  </a:cubicBezTo>
                  <a:cubicBezTo>
                    <a:pt x="242" y="755"/>
                    <a:pt x="242" y="755"/>
                    <a:pt x="242" y="755"/>
                  </a:cubicBezTo>
                  <a:cubicBezTo>
                    <a:pt x="236" y="747"/>
                    <a:pt x="236" y="747"/>
                    <a:pt x="236" y="747"/>
                  </a:cubicBezTo>
                  <a:cubicBezTo>
                    <a:pt x="235" y="740"/>
                    <a:pt x="235" y="740"/>
                    <a:pt x="235" y="740"/>
                  </a:cubicBezTo>
                  <a:cubicBezTo>
                    <a:pt x="240" y="736"/>
                    <a:pt x="240" y="736"/>
                    <a:pt x="240" y="736"/>
                  </a:cubicBezTo>
                  <a:cubicBezTo>
                    <a:pt x="241" y="726"/>
                    <a:pt x="241" y="726"/>
                    <a:pt x="241" y="726"/>
                  </a:cubicBezTo>
                  <a:cubicBezTo>
                    <a:pt x="248" y="725"/>
                    <a:pt x="248" y="725"/>
                    <a:pt x="248" y="725"/>
                  </a:cubicBezTo>
                  <a:cubicBezTo>
                    <a:pt x="259" y="724"/>
                    <a:pt x="259" y="724"/>
                    <a:pt x="259" y="724"/>
                  </a:cubicBezTo>
                  <a:cubicBezTo>
                    <a:pt x="265" y="716"/>
                    <a:pt x="265" y="716"/>
                    <a:pt x="265" y="716"/>
                  </a:cubicBezTo>
                  <a:cubicBezTo>
                    <a:pt x="268" y="713"/>
                    <a:pt x="268" y="713"/>
                    <a:pt x="268" y="713"/>
                  </a:cubicBezTo>
                  <a:cubicBezTo>
                    <a:pt x="273" y="717"/>
                    <a:pt x="273" y="717"/>
                    <a:pt x="273" y="717"/>
                  </a:cubicBezTo>
                  <a:cubicBezTo>
                    <a:pt x="279" y="727"/>
                    <a:pt x="279" y="727"/>
                    <a:pt x="279" y="727"/>
                  </a:cubicBezTo>
                  <a:cubicBezTo>
                    <a:pt x="286" y="731"/>
                    <a:pt x="286" y="731"/>
                    <a:pt x="286" y="731"/>
                  </a:cubicBezTo>
                  <a:cubicBezTo>
                    <a:pt x="288" y="726"/>
                    <a:pt x="288" y="726"/>
                    <a:pt x="288" y="726"/>
                  </a:cubicBezTo>
                  <a:cubicBezTo>
                    <a:pt x="285" y="720"/>
                    <a:pt x="285" y="720"/>
                    <a:pt x="285" y="720"/>
                  </a:cubicBezTo>
                  <a:cubicBezTo>
                    <a:pt x="289" y="706"/>
                    <a:pt x="289" y="706"/>
                    <a:pt x="289" y="706"/>
                  </a:cubicBezTo>
                  <a:cubicBezTo>
                    <a:pt x="305" y="687"/>
                    <a:pt x="305" y="687"/>
                    <a:pt x="305" y="687"/>
                  </a:cubicBezTo>
                  <a:cubicBezTo>
                    <a:pt x="303" y="678"/>
                    <a:pt x="303" y="678"/>
                    <a:pt x="303" y="678"/>
                  </a:cubicBezTo>
                  <a:cubicBezTo>
                    <a:pt x="307" y="673"/>
                    <a:pt x="307" y="673"/>
                    <a:pt x="307" y="673"/>
                  </a:cubicBezTo>
                  <a:cubicBezTo>
                    <a:pt x="313" y="671"/>
                    <a:pt x="313" y="671"/>
                    <a:pt x="313" y="671"/>
                  </a:cubicBezTo>
                  <a:cubicBezTo>
                    <a:pt x="318" y="677"/>
                    <a:pt x="318" y="677"/>
                    <a:pt x="318" y="677"/>
                  </a:cubicBezTo>
                  <a:cubicBezTo>
                    <a:pt x="325" y="678"/>
                    <a:pt x="325" y="678"/>
                    <a:pt x="325" y="678"/>
                  </a:cubicBezTo>
                  <a:cubicBezTo>
                    <a:pt x="329" y="681"/>
                    <a:pt x="329" y="681"/>
                    <a:pt x="329" y="681"/>
                  </a:cubicBezTo>
                  <a:cubicBezTo>
                    <a:pt x="337" y="682"/>
                    <a:pt x="337" y="682"/>
                    <a:pt x="337" y="682"/>
                  </a:cubicBezTo>
                  <a:cubicBezTo>
                    <a:pt x="341" y="676"/>
                    <a:pt x="341" y="676"/>
                    <a:pt x="341" y="676"/>
                  </a:cubicBezTo>
                  <a:cubicBezTo>
                    <a:pt x="347" y="670"/>
                    <a:pt x="347" y="670"/>
                    <a:pt x="347" y="670"/>
                  </a:cubicBezTo>
                  <a:cubicBezTo>
                    <a:pt x="344" y="657"/>
                    <a:pt x="344" y="657"/>
                    <a:pt x="344" y="657"/>
                  </a:cubicBezTo>
                  <a:cubicBezTo>
                    <a:pt x="338" y="656"/>
                    <a:pt x="338" y="656"/>
                    <a:pt x="338" y="656"/>
                  </a:cubicBezTo>
                  <a:cubicBezTo>
                    <a:pt x="338" y="649"/>
                    <a:pt x="338" y="649"/>
                    <a:pt x="338" y="649"/>
                  </a:cubicBezTo>
                  <a:cubicBezTo>
                    <a:pt x="343" y="647"/>
                    <a:pt x="343" y="647"/>
                    <a:pt x="343" y="647"/>
                  </a:cubicBezTo>
                  <a:cubicBezTo>
                    <a:pt x="339" y="634"/>
                    <a:pt x="339" y="634"/>
                    <a:pt x="339" y="634"/>
                  </a:cubicBezTo>
                  <a:cubicBezTo>
                    <a:pt x="333" y="635"/>
                    <a:pt x="333" y="635"/>
                    <a:pt x="333" y="635"/>
                  </a:cubicBezTo>
                  <a:cubicBezTo>
                    <a:pt x="323" y="628"/>
                    <a:pt x="323" y="628"/>
                    <a:pt x="323" y="628"/>
                  </a:cubicBezTo>
                  <a:cubicBezTo>
                    <a:pt x="325" y="619"/>
                    <a:pt x="325" y="619"/>
                    <a:pt x="325" y="619"/>
                  </a:cubicBezTo>
                  <a:cubicBezTo>
                    <a:pt x="324" y="606"/>
                    <a:pt x="324" y="606"/>
                    <a:pt x="324" y="606"/>
                  </a:cubicBezTo>
                  <a:cubicBezTo>
                    <a:pt x="333" y="599"/>
                    <a:pt x="333" y="599"/>
                    <a:pt x="333" y="599"/>
                  </a:cubicBezTo>
                  <a:cubicBezTo>
                    <a:pt x="337" y="594"/>
                    <a:pt x="337" y="594"/>
                    <a:pt x="337" y="594"/>
                  </a:cubicBezTo>
                  <a:cubicBezTo>
                    <a:pt x="337" y="584"/>
                    <a:pt x="337" y="584"/>
                    <a:pt x="337" y="584"/>
                  </a:cubicBezTo>
                  <a:cubicBezTo>
                    <a:pt x="343" y="578"/>
                    <a:pt x="343" y="578"/>
                    <a:pt x="343" y="578"/>
                  </a:cubicBezTo>
                  <a:cubicBezTo>
                    <a:pt x="340" y="572"/>
                    <a:pt x="340" y="572"/>
                    <a:pt x="340" y="572"/>
                  </a:cubicBezTo>
                  <a:cubicBezTo>
                    <a:pt x="342" y="567"/>
                    <a:pt x="342" y="567"/>
                    <a:pt x="342" y="567"/>
                  </a:cubicBezTo>
                  <a:cubicBezTo>
                    <a:pt x="333" y="557"/>
                    <a:pt x="333" y="557"/>
                    <a:pt x="333" y="557"/>
                  </a:cubicBezTo>
                  <a:cubicBezTo>
                    <a:pt x="333" y="550"/>
                    <a:pt x="333" y="550"/>
                    <a:pt x="333" y="550"/>
                  </a:cubicBezTo>
                  <a:cubicBezTo>
                    <a:pt x="334" y="543"/>
                    <a:pt x="334" y="543"/>
                    <a:pt x="334" y="543"/>
                  </a:cubicBezTo>
                  <a:cubicBezTo>
                    <a:pt x="331" y="536"/>
                    <a:pt x="331" y="536"/>
                    <a:pt x="331" y="536"/>
                  </a:cubicBezTo>
                  <a:cubicBezTo>
                    <a:pt x="332" y="528"/>
                    <a:pt x="332" y="528"/>
                    <a:pt x="332" y="528"/>
                  </a:cubicBezTo>
                  <a:cubicBezTo>
                    <a:pt x="342" y="521"/>
                    <a:pt x="342" y="521"/>
                    <a:pt x="342" y="521"/>
                  </a:cubicBezTo>
                  <a:cubicBezTo>
                    <a:pt x="348" y="520"/>
                    <a:pt x="348" y="520"/>
                    <a:pt x="348" y="520"/>
                  </a:cubicBezTo>
                  <a:cubicBezTo>
                    <a:pt x="355" y="515"/>
                    <a:pt x="355" y="515"/>
                    <a:pt x="355" y="515"/>
                  </a:cubicBezTo>
                  <a:cubicBezTo>
                    <a:pt x="354" y="509"/>
                    <a:pt x="354" y="509"/>
                    <a:pt x="354" y="509"/>
                  </a:cubicBezTo>
                  <a:cubicBezTo>
                    <a:pt x="350" y="509"/>
                    <a:pt x="350" y="509"/>
                    <a:pt x="350" y="509"/>
                  </a:cubicBezTo>
                  <a:cubicBezTo>
                    <a:pt x="346" y="512"/>
                    <a:pt x="346" y="512"/>
                    <a:pt x="346" y="512"/>
                  </a:cubicBezTo>
                  <a:cubicBezTo>
                    <a:pt x="340" y="510"/>
                    <a:pt x="340" y="510"/>
                    <a:pt x="340" y="510"/>
                  </a:cubicBezTo>
                  <a:cubicBezTo>
                    <a:pt x="335" y="513"/>
                    <a:pt x="335" y="513"/>
                    <a:pt x="335" y="513"/>
                  </a:cubicBezTo>
                  <a:cubicBezTo>
                    <a:pt x="331" y="510"/>
                    <a:pt x="331" y="510"/>
                    <a:pt x="331" y="510"/>
                  </a:cubicBezTo>
                  <a:cubicBezTo>
                    <a:pt x="324" y="513"/>
                    <a:pt x="324" y="513"/>
                    <a:pt x="324" y="513"/>
                  </a:cubicBezTo>
                  <a:cubicBezTo>
                    <a:pt x="317" y="512"/>
                    <a:pt x="317" y="512"/>
                    <a:pt x="317" y="512"/>
                  </a:cubicBezTo>
                  <a:cubicBezTo>
                    <a:pt x="317" y="503"/>
                    <a:pt x="317" y="503"/>
                    <a:pt x="317" y="503"/>
                  </a:cubicBezTo>
                  <a:cubicBezTo>
                    <a:pt x="318" y="501"/>
                    <a:pt x="318" y="501"/>
                    <a:pt x="318" y="501"/>
                  </a:cubicBezTo>
                  <a:cubicBezTo>
                    <a:pt x="318" y="494"/>
                    <a:pt x="318" y="494"/>
                    <a:pt x="318" y="494"/>
                  </a:cubicBezTo>
                  <a:cubicBezTo>
                    <a:pt x="322" y="480"/>
                    <a:pt x="322" y="480"/>
                    <a:pt x="322" y="480"/>
                  </a:cubicBezTo>
                  <a:cubicBezTo>
                    <a:pt x="315" y="472"/>
                    <a:pt x="315" y="472"/>
                    <a:pt x="315" y="472"/>
                  </a:cubicBezTo>
                  <a:cubicBezTo>
                    <a:pt x="314" y="463"/>
                    <a:pt x="314" y="463"/>
                    <a:pt x="314" y="463"/>
                  </a:cubicBezTo>
                  <a:cubicBezTo>
                    <a:pt x="308" y="459"/>
                    <a:pt x="308" y="459"/>
                    <a:pt x="308" y="459"/>
                  </a:cubicBezTo>
                  <a:cubicBezTo>
                    <a:pt x="307" y="454"/>
                    <a:pt x="307" y="454"/>
                    <a:pt x="307" y="454"/>
                  </a:cubicBezTo>
                  <a:cubicBezTo>
                    <a:pt x="310" y="451"/>
                    <a:pt x="310" y="451"/>
                    <a:pt x="310" y="451"/>
                  </a:cubicBezTo>
                  <a:cubicBezTo>
                    <a:pt x="307" y="447"/>
                    <a:pt x="307" y="447"/>
                    <a:pt x="307" y="447"/>
                  </a:cubicBezTo>
                  <a:cubicBezTo>
                    <a:pt x="307" y="442"/>
                    <a:pt x="307" y="442"/>
                    <a:pt x="307" y="442"/>
                  </a:cubicBezTo>
                  <a:cubicBezTo>
                    <a:pt x="298" y="442"/>
                    <a:pt x="298" y="442"/>
                    <a:pt x="298" y="442"/>
                  </a:cubicBezTo>
                  <a:cubicBezTo>
                    <a:pt x="297" y="438"/>
                    <a:pt x="297" y="438"/>
                    <a:pt x="297" y="438"/>
                  </a:cubicBezTo>
                  <a:cubicBezTo>
                    <a:pt x="304" y="431"/>
                    <a:pt x="304" y="431"/>
                    <a:pt x="304" y="431"/>
                  </a:cubicBezTo>
                  <a:cubicBezTo>
                    <a:pt x="309" y="429"/>
                    <a:pt x="309" y="429"/>
                    <a:pt x="309" y="429"/>
                  </a:cubicBezTo>
                  <a:cubicBezTo>
                    <a:pt x="305" y="400"/>
                    <a:pt x="305" y="400"/>
                    <a:pt x="305" y="40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299" y="379"/>
                    <a:pt x="299" y="379"/>
                    <a:pt x="299" y="379"/>
                  </a:cubicBezTo>
                  <a:cubicBezTo>
                    <a:pt x="290" y="367"/>
                    <a:pt x="290" y="367"/>
                    <a:pt x="290" y="367"/>
                  </a:cubicBezTo>
                  <a:cubicBezTo>
                    <a:pt x="291" y="361"/>
                    <a:pt x="291" y="361"/>
                    <a:pt x="291" y="361"/>
                  </a:cubicBezTo>
                  <a:cubicBezTo>
                    <a:pt x="295" y="360"/>
                    <a:pt x="295" y="360"/>
                    <a:pt x="295" y="360"/>
                  </a:cubicBezTo>
                  <a:cubicBezTo>
                    <a:pt x="304" y="347"/>
                    <a:pt x="304" y="347"/>
                    <a:pt x="304" y="347"/>
                  </a:cubicBezTo>
                  <a:cubicBezTo>
                    <a:pt x="311" y="349"/>
                    <a:pt x="311" y="349"/>
                    <a:pt x="311" y="349"/>
                  </a:cubicBezTo>
                  <a:cubicBezTo>
                    <a:pt x="316" y="349"/>
                    <a:pt x="316" y="349"/>
                    <a:pt x="316" y="349"/>
                  </a:cubicBezTo>
                  <a:cubicBezTo>
                    <a:pt x="319" y="340"/>
                    <a:pt x="319" y="340"/>
                    <a:pt x="319" y="340"/>
                  </a:cubicBezTo>
                  <a:cubicBezTo>
                    <a:pt x="315" y="335"/>
                    <a:pt x="315" y="335"/>
                    <a:pt x="315" y="335"/>
                  </a:cubicBezTo>
                  <a:cubicBezTo>
                    <a:pt x="317" y="327"/>
                    <a:pt x="317" y="327"/>
                    <a:pt x="317" y="327"/>
                  </a:cubicBezTo>
                  <a:cubicBezTo>
                    <a:pt x="321" y="327"/>
                    <a:pt x="321" y="327"/>
                    <a:pt x="321" y="327"/>
                  </a:cubicBezTo>
                  <a:cubicBezTo>
                    <a:pt x="321" y="316"/>
                    <a:pt x="321" y="316"/>
                    <a:pt x="321" y="316"/>
                  </a:cubicBezTo>
                  <a:cubicBezTo>
                    <a:pt x="332" y="305"/>
                    <a:pt x="332" y="305"/>
                    <a:pt x="332" y="305"/>
                  </a:cubicBezTo>
                  <a:cubicBezTo>
                    <a:pt x="333" y="300"/>
                    <a:pt x="333" y="300"/>
                    <a:pt x="333" y="300"/>
                  </a:cubicBezTo>
                  <a:cubicBezTo>
                    <a:pt x="336" y="300"/>
                    <a:pt x="336" y="300"/>
                    <a:pt x="336" y="300"/>
                  </a:cubicBezTo>
                  <a:cubicBezTo>
                    <a:pt x="337" y="291"/>
                    <a:pt x="337" y="291"/>
                    <a:pt x="337" y="291"/>
                  </a:cubicBezTo>
                  <a:cubicBezTo>
                    <a:pt x="330" y="293"/>
                    <a:pt x="330" y="293"/>
                    <a:pt x="330" y="293"/>
                  </a:cubicBezTo>
                  <a:cubicBezTo>
                    <a:pt x="327" y="285"/>
                    <a:pt x="327" y="285"/>
                    <a:pt x="327" y="285"/>
                  </a:cubicBezTo>
                  <a:cubicBezTo>
                    <a:pt x="325" y="275"/>
                    <a:pt x="325" y="275"/>
                    <a:pt x="325" y="275"/>
                  </a:cubicBezTo>
                  <a:cubicBezTo>
                    <a:pt x="314" y="265"/>
                    <a:pt x="314" y="265"/>
                    <a:pt x="314" y="265"/>
                  </a:cubicBezTo>
                  <a:cubicBezTo>
                    <a:pt x="313" y="261"/>
                    <a:pt x="313" y="261"/>
                    <a:pt x="313" y="261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3" y="254"/>
                    <a:pt x="303" y="254"/>
                    <a:pt x="303" y="254"/>
                  </a:cubicBezTo>
                  <a:cubicBezTo>
                    <a:pt x="304" y="245"/>
                    <a:pt x="304" y="245"/>
                    <a:pt x="304" y="245"/>
                  </a:cubicBezTo>
                  <a:cubicBezTo>
                    <a:pt x="297" y="236"/>
                    <a:pt x="297" y="236"/>
                    <a:pt x="297" y="236"/>
                  </a:cubicBezTo>
                  <a:cubicBezTo>
                    <a:pt x="301" y="229"/>
                    <a:pt x="301" y="229"/>
                    <a:pt x="301" y="229"/>
                  </a:cubicBezTo>
                  <a:cubicBezTo>
                    <a:pt x="296" y="220"/>
                    <a:pt x="296" y="220"/>
                    <a:pt x="296" y="220"/>
                  </a:cubicBezTo>
                  <a:cubicBezTo>
                    <a:pt x="294" y="216"/>
                    <a:pt x="294" y="216"/>
                    <a:pt x="294" y="216"/>
                  </a:cubicBezTo>
                  <a:cubicBezTo>
                    <a:pt x="291" y="218"/>
                    <a:pt x="287" y="217"/>
                    <a:pt x="286" y="219"/>
                  </a:cubicBezTo>
                  <a:cubicBezTo>
                    <a:pt x="285" y="221"/>
                    <a:pt x="285" y="227"/>
                    <a:pt x="288" y="228"/>
                  </a:cubicBezTo>
                  <a:cubicBezTo>
                    <a:pt x="290" y="228"/>
                    <a:pt x="296" y="226"/>
                    <a:pt x="293" y="230"/>
                  </a:cubicBezTo>
                  <a:cubicBezTo>
                    <a:pt x="290" y="233"/>
                    <a:pt x="282" y="240"/>
                    <a:pt x="279" y="241"/>
                  </a:cubicBezTo>
                  <a:cubicBezTo>
                    <a:pt x="276" y="243"/>
                    <a:pt x="273" y="245"/>
                    <a:pt x="269" y="248"/>
                  </a:cubicBezTo>
                  <a:cubicBezTo>
                    <a:pt x="266" y="250"/>
                    <a:pt x="259" y="253"/>
                    <a:pt x="260" y="251"/>
                  </a:cubicBezTo>
                  <a:cubicBezTo>
                    <a:pt x="262" y="249"/>
                    <a:pt x="263" y="248"/>
                    <a:pt x="264" y="245"/>
                  </a:cubicBezTo>
                  <a:cubicBezTo>
                    <a:pt x="265" y="243"/>
                    <a:pt x="267" y="241"/>
                    <a:pt x="269" y="238"/>
                  </a:cubicBezTo>
                  <a:cubicBezTo>
                    <a:pt x="271" y="235"/>
                    <a:pt x="273" y="232"/>
                    <a:pt x="276" y="229"/>
                  </a:cubicBezTo>
                  <a:cubicBezTo>
                    <a:pt x="278" y="226"/>
                    <a:pt x="279" y="223"/>
                    <a:pt x="280" y="221"/>
                  </a:cubicBezTo>
                  <a:cubicBezTo>
                    <a:pt x="281" y="219"/>
                    <a:pt x="283" y="215"/>
                    <a:pt x="284" y="210"/>
                  </a:cubicBezTo>
                  <a:cubicBezTo>
                    <a:pt x="286" y="205"/>
                    <a:pt x="285" y="204"/>
                    <a:pt x="289" y="198"/>
                  </a:cubicBezTo>
                  <a:cubicBezTo>
                    <a:pt x="292" y="193"/>
                    <a:pt x="294" y="195"/>
                    <a:pt x="295" y="191"/>
                  </a:cubicBezTo>
                  <a:cubicBezTo>
                    <a:pt x="297" y="187"/>
                    <a:pt x="296" y="185"/>
                    <a:pt x="300" y="182"/>
                  </a:cubicBezTo>
                  <a:cubicBezTo>
                    <a:pt x="303" y="179"/>
                    <a:pt x="304" y="175"/>
                    <a:pt x="304" y="167"/>
                  </a:cubicBezTo>
                  <a:cubicBezTo>
                    <a:pt x="303" y="159"/>
                    <a:pt x="301" y="162"/>
                    <a:pt x="301" y="158"/>
                  </a:cubicBezTo>
                  <a:cubicBezTo>
                    <a:pt x="300" y="154"/>
                    <a:pt x="299" y="152"/>
                    <a:pt x="298" y="150"/>
                  </a:cubicBezTo>
                  <a:cubicBezTo>
                    <a:pt x="297" y="148"/>
                    <a:pt x="292" y="143"/>
                    <a:pt x="290" y="142"/>
                  </a:cubicBezTo>
                  <a:cubicBezTo>
                    <a:pt x="287" y="142"/>
                    <a:pt x="283" y="140"/>
                    <a:pt x="278" y="135"/>
                  </a:cubicBezTo>
                  <a:cubicBezTo>
                    <a:pt x="273" y="130"/>
                    <a:pt x="271" y="129"/>
                    <a:pt x="268" y="132"/>
                  </a:cubicBezTo>
                  <a:cubicBezTo>
                    <a:pt x="265" y="135"/>
                    <a:pt x="258" y="134"/>
                    <a:pt x="252" y="136"/>
                  </a:cubicBezTo>
                  <a:cubicBezTo>
                    <a:pt x="247" y="137"/>
                    <a:pt x="250" y="140"/>
                    <a:pt x="246" y="145"/>
                  </a:cubicBezTo>
                  <a:cubicBezTo>
                    <a:pt x="242" y="149"/>
                    <a:pt x="236" y="147"/>
                    <a:pt x="238" y="145"/>
                  </a:cubicBezTo>
                  <a:cubicBezTo>
                    <a:pt x="240" y="142"/>
                    <a:pt x="243" y="131"/>
                    <a:pt x="241" y="131"/>
                  </a:cubicBezTo>
                  <a:cubicBezTo>
                    <a:pt x="240" y="130"/>
                    <a:pt x="232" y="129"/>
                    <a:pt x="229" y="130"/>
                  </a:cubicBezTo>
                  <a:cubicBezTo>
                    <a:pt x="227" y="131"/>
                    <a:pt x="219" y="131"/>
                    <a:pt x="224" y="126"/>
                  </a:cubicBezTo>
                  <a:cubicBezTo>
                    <a:pt x="230" y="121"/>
                    <a:pt x="230" y="120"/>
                    <a:pt x="224" y="117"/>
                  </a:cubicBezTo>
                  <a:cubicBezTo>
                    <a:pt x="219" y="113"/>
                    <a:pt x="213" y="113"/>
                    <a:pt x="207" y="118"/>
                  </a:cubicBezTo>
                  <a:cubicBezTo>
                    <a:pt x="201" y="122"/>
                    <a:pt x="201" y="129"/>
                    <a:pt x="196" y="138"/>
                  </a:cubicBezTo>
                  <a:cubicBezTo>
                    <a:pt x="192" y="147"/>
                    <a:pt x="194" y="147"/>
                    <a:pt x="196" y="151"/>
                  </a:cubicBezTo>
                  <a:cubicBezTo>
                    <a:pt x="199" y="155"/>
                    <a:pt x="193" y="156"/>
                    <a:pt x="190" y="157"/>
                  </a:cubicBezTo>
                  <a:cubicBezTo>
                    <a:pt x="187" y="157"/>
                    <a:pt x="183" y="158"/>
                    <a:pt x="183" y="162"/>
                  </a:cubicBezTo>
                  <a:cubicBezTo>
                    <a:pt x="184" y="166"/>
                    <a:pt x="183" y="167"/>
                    <a:pt x="180" y="168"/>
                  </a:cubicBezTo>
                  <a:cubicBezTo>
                    <a:pt x="177" y="169"/>
                    <a:pt x="174" y="174"/>
                    <a:pt x="170" y="177"/>
                  </a:cubicBezTo>
                  <a:cubicBezTo>
                    <a:pt x="167" y="180"/>
                    <a:pt x="161" y="176"/>
                    <a:pt x="159" y="172"/>
                  </a:cubicBezTo>
                  <a:cubicBezTo>
                    <a:pt x="156" y="168"/>
                    <a:pt x="141" y="173"/>
                    <a:pt x="136" y="176"/>
                  </a:cubicBezTo>
                  <a:cubicBezTo>
                    <a:pt x="132" y="180"/>
                    <a:pt x="139" y="184"/>
                    <a:pt x="135" y="185"/>
                  </a:cubicBezTo>
                  <a:cubicBezTo>
                    <a:pt x="131" y="186"/>
                    <a:pt x="123" y="191"/>
                    <a:pt x="118" y="191"/>
                  </a:cubicBezTo>
                  <a:cubicBezTo>
                    <a:pt x="113" y="190"/>
                    <a:pt x="107" y="197"/>
                    <a:pt x="103" y="202"/>
                  </a:cubicBezTo>
                  <a:cubicBezTo>
                    <a:pt x="99" y="207"/>
                    <a:pt x="97" y="203"/>
                    <a:pt x="92" y="203"/>
                  </a:cubicBezTo>
                  <a:cubicBezTo>
                    <a:pt x="86" y="203"/>
                    <a:pt x="91" y="209"/>
                    <a:pt x="91" y="213"/>
                  </a:cubicBezTo>
                  <a:cubicBezTo>
                    <a:pt x="92" y="217"/>
                    <a:pt x="85" y="218"/>
                    <a:pt x="83" y="216"/>
                  </a:cubicBezTo>
                  <a:cubicBezTo>
                    <a:pt x="81" y="214"/>
                    <a:pt x="77" y="219"/>
                    <a:pt x="80" y="222"/>
                  </a:cubicBezTo>
                  <a:cubicBezTo>
                    <a:pt x="84" y="225"/>
                    <a:pt x="85" y="228"/>
                    <a:pt x="81" y="228"/>
                  </a:cubicBezTo>
                  <a:cubicBezTo>
                    <a:pt x="77" y="228"/>
                    <a:pt x="83" y="235"/>
                    <a:pt x="85" y="236"/>
                  </a:cubicBezTo>
                  <a:cubicBezTo>
                    <a:pt x="87" y="236"/>
                    <a:pt x="96" y="244"/>
                    <a:pt x="84" y="245"/>
                  </a:cubicBezTo>
                  <a:cubicBezTo>
                    <a:pt x="71" y="247"/>
                    <a:pt x="68" y="249"/>
                    <a:pt x="63" y="250"/>
                  </a:cubicBezTo>
                  <a:cubicBezTo>
                    <a:pt x="58" y="250"/>
                    <a:pt x="47" y="249"/>
                    <a:pt x="37" y="249"/>
                  </a:cubicBezTo>
                  <a:cubicBezTo>
                    <a:pt x="27" y="248"/>
                    <a:pt x="25" y="257"/>
                    <a:pt x="29" y="265"/>
                  </a:cubicBezTo>
                  <a:cubicBezTo>
                    <a:pt x="34" y="272"/>
                    <a:pt x="27" y="275"/>
                    <a:pt x="29" y="282"/>
                  </a:cubicBezTo>
                  <a:cubicBezTo>
                    <a:pt x="31" y="288"/>
                    <a:pt x="39" y="292"/>
                    <a:pt x="43" y="297"/>
                  </a:cubicBezTo>
                  <a:cubicBezTo>
                    <a:pt x="47" y="301"/>
                    <a:pt x="56" y="311"/>
                    <a:pt x="52" y="316"/>
                  </a:cubicBezTo>
                  <a:cubicBezTo>
                    <a:pt x="49" y="321"/>
                    <a:pt x="47" y="325"/>
                    <a:pt x="48" y="330"/>
                  </a:cubicBezTo>
                  <a:cubicBezTo>
                    <a:pt x="48" y="335"/>
                    <a:pt x="51" y="347"/>
                    <a:pt x="48" y="348"/>
                  </a:cubicBezTo>
                  <a:cubicBezTo>
                    <a:pt x="46" y="350"/>
                    <a:pt x="44" y="361"/>
                    <a:pt x="42" y="357"/>
                  </a:cubicBezTo>
                  <a:cubicBezTo>
                    <a:pt x="40" y="353"/>
                    <a:pt x="43" y="348"/>
                    <a:pt x="44" y="339"/>
                  </a:cubicBezTo>
                  <a:cubicBezTo>
                    <a:pt x="46" y="330"/>
                    <a:pt x="42" y="335"/>
                    <a:pt x="40" y="332"/>
                  </a:cubicBezTo>
                  <a:cubicBezTo>
                    <a:pt x="39" y="330"/>
                    <a:pt x="40" y="327"/>
                    <a:pt x="45" y="320"/>
                  </a:cubicBezTo>
                  <a:cubicBezTo>
                    <a:pt x="49" y="313"/>
                    <a:pt x="49" y="312"/>
                    <a:pt x="47" y="309"/>
                  </a:cubicBezTo>
                  <a:cubicBezTo>
                    <a:pt x="44" y="305"/>
                    <a:pt x="35" y="309"/>
                    <a:pt x="32" y="306"/>
                  </a:cubicBezTo>
                  <a:cubicBezTo>
                    <a:pt x="28" y="303"/>
                    <a:pt x="24" y="296"/>
                    <a:pt x="21" y="289"/>
                  </a:cubicBezTo>
                  <a:cubicBezTo>
                    <a:pt x="19" y="285"/>
                    <a:pt x="12" y="284"/>
                    <a:pt x="6" y="285"/>
                  </a:cubicBezTo>
                  <a:cubicBezTo>
                    <a:pt x="5" y="293"/>
                    <a:pt x="5" y="293"/>
                    <a:pt x="5" y="293"/>
                  </a:cubicBezTo>
                  <a:cubicBezTo>
                    <a:pt x="15" y="298"/>
                    <a:pt x="15" y="298"/>
                    <a:pt x="15" y="298"/>
                  </a:cubicBezTo>
                  <a:cubicBezTo>
                    <a:pt x="22" y="304"/>
                    <a:pt x="22" y="304"/>
                    <a:pt x="22" y="304"/>
                  </a:cubicBezTo>
                  <a:cubicBezTo>
                    <a:pt x="19" y="312"/>
                    <a:pt x="19" y="312"/>
                    <a:pt x="19" y="312"/>
                  </a:cubicBezTo>
                  <a:cubicBezTo>
                    <a:pt x="15" y="311"/>
                    <a:pt x="15" y="311"/>
                    <a:pt x="15" y="311"/>
                  </a:cubicBezTo>
                  <a:cubicBezTo>
                    <a:pt x="9" y="319"/>
                    <a:pt x="9" y="319"/>
                    <a:pt x="9" y="319"/>
                  </a:cubicBezTo>
                  <a:cubicBezTo>
                    <a:pt x="13" y="324"/>
                    <a:pt x="13" y="324"/>
                    <a:pt x="13" y="324"/>
                  </a:cubicBezTo>
                  <a:cubicBezTo>
                    <a:pt x="21" y="329"/>
                    <a:pt x="21" y="329"/>
                    <a:pt x="21" y="329"/>
                  </a:cubicBezTo>
                  <a:cubicBezTo>
                    <a:pt x="21" y="348"/>
                    <a:pt x="21" y="348"/>
                    <a:pt x="21" y="348"/>
                  </a:cubicBezTo>
                  <a:cubicBezTo>
                    <a:pt x="14" y="349"/>
                    <a:pt x="14" y="349"/>
                    <a:pt x="14" y="349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369"/>
                    <a:pt x="0" y="369"/>
                    <a:pt x="0" y="369"/>
                  </a:cubicBezTo>
                  <a:cubicBezTo>
                    <a:pt x="8" y="380"/>
                    <a:pt x="8" y="380"/>
                    <a:pt x="8" y="380"/>
                  </a:cubicBezTo>
                  <a:cubicBezTo>
                    <a:pt x="14" y="380"/>
                    <a:pt x="14" y="380"/>
                    <a:pt x="14" y="380"/>
                  </a:cubicBezTo>
                  <a:cubicBezTo>
                    <a:pt x="15" y="382"/>
                    <a:pt x="15" y="382"/>
                    <a:pt x="15" y="382"/>
                  </a:cubicBezTo>
                  <a:cubicBezTo>
                    <a:pt x="18" y="387"/>
                    <a:pt x="18" y="387"/>
                    <a:pt x="18" y="387"/>
                  </a:cubicBezTo>
                  <a:cubicBezTo>
                    <a:pt x="21" y="383"/>
                    <a:pt x="21" y="383"/>
                    <a:pt x="21" y="383"/>
                  </a:cubicBezTo>
                  <a:cubicBezTo>
                    <a:pt x="26" y="384"/>
                    <a:pt x="26" y="384"/>
                    <a:pt x="26" y="384"/>
                  </a:cubicBezTo>
                  <a:cubicBezTo>
                    <a:pt x="31" y="381"/>
                    <a:pt x="31" y="381"/>
                    <a:pt x="31" y="381"/>
                  </a:cubicBezTo>
                  <a:cubicBezTo>
                    <a:pt x="31" y="381"/>
                    <a:pt x="31" y="386"/>
                    <a:pt x="31" y="387"/>
                  </a:cubicBezTo>
                  <a:cubicBezTo>
                    <a:pt x="31" y="388"/>
                    <a:pt x="33" y="388"/>
                    <a:pt x="33" y="388"/>
                  </a:cubicBezTo>
                  <a:cubicBezTo>
                    <a:pt x="34" y="393"/>
                    <a:pt x="34" y="393"/>
                    <a:pt x="34" y="393"/>
                  </a:cubicBezTo>
                  <a:cubicBezTo>
                    <a:pt x="37" y="403"/>
                    <a:pt x="37" y="403"/>
                    <a:pt x="37" y="403"/>
                  </a:cubicBezTo>
                  <a:cubicBezTo>
                    <a:pt x="33" y="407"/>
                    <a:pt x="33" y="407"/>
                    <a:pt x="33" y="407"/>
                  </a:cubicBezTo>
                  <a:cubicBezTo>
                    <a:pt x="35" y="416"/>
                    <a:pt x="35" y="416"/>
                    <a:pt x="35" y="416"/>
                  </a:cubicBezTo>
                  <a:cubicBezTo>
                    <a:pt x="29" y="426"/>
                    <a:pt x="29" y="426"/>
                    <a:pt x="29" y="426"/>
                  </a:cubicBezTo>
                  <a:cubicBezTo>
                    <a:pt x="24" y="426"/>
                    <a:pt x="24" y="426"/>
                    <a:pt x="24" y="426"/>
                  </a:cubicBezTo>
                  <a:cubicBezTo>
                    <a:pt x="24" y="434"/>
                    <a:pt x="24" y="434"/>
                    <a:pt x="24" y="434"/>
                  </a:cubicBezTo>
                  <a:cubicBezTo>
                    <a:pt x="30" y="439"/>
                    <a:pt x="30" y="439"/>
                    <a:pt x="30" y="439"/>
                  </a:cubicBezTo>
                  <a:cubicBezTo>
                    <a:pt x="24" y="446"/>
                    <a:pt x="24" y="446"/>
                    <a:pt x="24" y="446"/>
                  </a:cubicBezTo>
                  <a:cubicBezTo>
                    <a:pt x="27" y="449"/>
                    <a:pt x="27" y="449"/>
                    <a:pt x="27" y="449"/>
                  </a:cubicBezTo>
                  <a:cubicBezTo>
                    <a:pt x="28" y="455"/>
                    <a:pt x="28" y="455"/>
                    <a:pt x="28" y="455"/>
                  </a:cubicBezTo>
                  <a:cubicBezTo>
                    <a:pt x="34" y="458"/>
                    <a:pt x="34" y="458"/>
                    <a:pt x="34" y="458"/>
                  </a:cubicBezTo>
                  <a:cubicBezTo>
                    <a:pt x="38" y="463"/>
                    <a:pt x="38" y="463"/>
                    <a:pt x="38" y="463"/>
                  </a:cubicBezTo>
                  <a:cubicBezTo>
                    <a:pt x="33" y="470"/>
                    <a:pt x="33" y="470"/>
                    <a:pt x="33" y="470"/>
                  </a:cubicBezTo>
                  <a:cubicBezTo>
                    <a:pt x="36" y="474"/>
                    <a:pt x="36" y="474"/>
                    <a:pt x="36" y="474"/>
                  </a:cubicBezTo>
                  <a:cubicBezTo>
                    <a:pt x="37" y="482"/>
                    <a:pt x="37" y="482"/>
                    <a:pt x="37" y="482"/>
                  </a:cubicBezTo>
                  <a:cubicBezTo>
                    <a:pt x="32" y="484"/>
                    <a:pt x="32" y="484"/>
                    <a:pt x="32" y="484"/>
                  </a:cubicBezTo>
                  <a:cubicBezTo>
                    <a:pt x="35" y="492"/>
                    <a:pt x="35" y="492"/>
                    <a:pt x="35" y="492"/>
                  </a:cubicBezTo>
                  <a:cubicBezTo>
                    <a:pt x="41" y="491"/>
                    <a:pt x="41" y="491"/>
                    <a:pt x="41" y="491"/>
                  </a:cubicBezTo>
                  <a:cubicBezTo>
                    <a:pt x="47" y="497"/>
                    <a:pt x="47" y="497"/>
                    <a:pt x="47" y="497"/>
                  </a:cubicBezTo>
                  <a:cubicBezTo>
                    <a:pt x="50" y="508"/>
                    <a:pt x="50" y="508"/>
                    <a:pt x="50" y="508"/>
                  </a:cubicBezTo>
                  <a:cubicBezTo>
                    <a:pt x="44" y="514"/>
                    <a:pt x="44" y="514"/>
                    <a:pt x="44" y="514"/>
                  </a:cubicBezTo>
                  <a:cubicBezTo>
                    <a:pt x="47" y="520"/>
                    <a:pt x="47" y="520"/>
                    <a:pt x="47" y="520"/>
                  </a:cubicBezTo>
                  <a:cubicBezTo>
                    <a:pt x="53" y="520"/>
                    <a:pt x="53" y="520"/>
                    <a:pt x="53" y="520"/>
                  </a:cubicBezTo>
                  <a:cubicBezTo>
                    <a:pt x="59" y="525"/>
                    <a:pt x="59" y="525"/>
                    <a:pt x="59" y="525"/>
                  </a:cubicBezTo>
                  <a:cubicBezTo>
                    <a:pt x="63" y="521"/>
                    <a:pt x="63" y="521"/>
                    <a:pt x="63" y="521"/>
                  </a:cubicBezTo>
                  <a:cubicBezTo>
                    <a:pt x="63" y="536"/>
                    <a:pt x="63" y="536"/>
                    <a:pt x="63" y="536"/>
                  </a:cubicBezTo>
                  <a:cubicBezTo>
                    <a:pt x="66" y="542"/>
                    <a:pt x="66" y="542"/>
                    <a:pt x="66" y="542"/>
                  </a:cubicBezTo>
                  <a:cubicBezTo>
                    <a:pt x="57" y="550"/>
                    <a:pt x="57" y="550"/>
                    <a:pt x="57" y="550"/>
                  </a:cubicBezTo>
                  <a:cubicBezTo>
                    <a:pt x="51" y="559"/>
                    <a:pt x="51" y="559"/>
                    <a:pt x="51" y="559"/>
                  </a:cubicBezTo>
                  <a:cubicBezTo>
                    <a:pt x="57" y="566"/>
                    <a:pt x="57" y="566"/>
                    <a:pt x="57" y="566"/>
                  </a:cubicBezTo>
                  <a:cubicBezTo>
                    <a:pt x="58" y="575"/>
                    <a:pt x="58" y="575"/>
                    <a:pt x="58" y="575"/>
                  </a:cubicBezTo>
                  <a:cubicBezTo>
                    <a:pt x="52" y="579"/>
                    <a:pt x="52" y="579"/>
                    <a:pt x="52" y="579"/>
                  </a:cubicBezTo>
                  <a:cubicBezTo>
                    <a:pt x="51" y="587"/>
                    <a:pt x="51" y="587"/>
                    <a:pt x="51" y="587"/>
                  </a:cubicBezTo>
                  <a:cubicBezTo>
                    <a:pt x="41" y="597"/>
                    <a:pt x="41" y="597"/>
                    <a:pt x="41" y="597"/>
                  </a:cubicBezTo>
                  <a:cubicBezTo>
                    <a:pt x="41" y="608"/>
                    <a:pt x="41" y="608"/>
                    <a:pt x="41" y="608"/>
                  </a:cubicBezTo>
                  <a:cubicBezTo>
                    <a:pt x="58" y="619"/>
                    <a:pt x="58" y="619"/>
                    <a:pt x="58" y="619"/>
                  </a:cubicBezTo>
                  <a:cubicBezTo>
                    <a:pt x="51" y="629"/>
                    <a:pt x="51" y="629"/>
                    <a:pt x="51" y="629"/>
                  </a:cubicBezTo>
                  <a:cubicBezTo>
                    <a:pt x="44" y="631"/>
                    <a:pt x="44" y="631"/>
                    <a:pt x="44" y="631"/>
                  </a:cubicBezTo>
                  <a:cubicBezTo>
                    <a:pt x="34" y="639"/>
                    <a:pt x="34" y="639"/>
                    <a:pt x="34" y="639"/>
                  </a:cubicBezTo>
                  <a:cubicBezTo>
                    <a:pt x="41" y="654"/>
                    <a:pt x="41" y="654"/>
                    <a:pt x="41" y="654"/>
                  </a:cubicBezTo>
                  <a:cubicBezTo>
                    <a:pt x="35" y="660"/>
                    <a:pt x="35" y="660"/>
                    <a:pt x="35" y="660"/>
                  </a:cubicBezTo>
                  <a:cubicBezTo>
                    <a:pt x="38" y="667"/>
                    <a:pt x="38" y="667"/>
                    <a:pt x="38" y="667"/>
                  </a:cubicBezTo>
                  <a:cubicBezTo>
                    <a:pt x="45" y="669"/>
                    <a:pt x="45" y="669"/>
                    <a:pt x="45" y="669"/>
                  </a:cubicBezTo>
                  <a:cubicBezTo>
                    <a:pt x="50" y="667"/>
                    <a:pt x="50" y="667"/>
                    <a:pt x="50" y="667"/>
                  </a:cubicBezTo>
                  <a:cubicBezTo>
                    <a:pt x="71" y="666"/>
                    <a:pt x="71" y="666"/>
                    <a:pt x="71" y="666"/>
                  </a:cubicBezTo>
                  <a:cubicBezTo>
                    <a:pt x="83" y="681"/>
                    <a:pt x="83" y="681"/>
                    <a:pt x="83" y="681"/>
                  </a:cubicBezTo>
                  <a:cubicBezTo>
                    <a:pt x="84" y="689"/>
                    <a:pt x="84" y="689"/>
                    <a:pt x="84" y="689"/>
                  </a:cubicBezTo>
                  <a:cubicBezTo>
                    <a:pt x="94" y="689"/>
                    <a:pt x="94" y="689"/>
                    <a:pt x="94" y="689"/>
                  </a:cubicBezTo>
                  <a:cubicBezTo>
                    <a:pt x="98" y="693"/>
                    <a:pt x="98" y="693"/>
                    <a:pt x="98" y="693"/>
                  </a:cubicBezTo>
                  <a:cubicBezTo>
                    <a:pt x="85" y="710"/>
                    <a:pt x="85" y="710"/>
                    <a:pt x="85" y="710"/>
                  </a:cubicBezTo>
                  <a:cubicBezTo>
                    <a:pt x="88" y="721"/>
                    <a:pt x="88" y="721"/>
                    <a:pt x="88" y="721"/>
                  </a:cubicBezTo>
                  <a:cubicBezTo>
                    <a:pt x="90" y="726"/>
                    <a:pt x="90" y="726"/>
                    <a:pt x="90" y="726"/>
                  </a:cubicBezTo>
                  <a:cubicBezTo>
                    <a:pt x="99" y="726"/>
                    <a:pt x="99" y="726"/>
                    <a:pt x="99" y="726"/>
                  </a:cubicBezTo>
                  <a:cubicBezTo>
                    <a:pt x="105" y="730"/>
                    <a:pt x="105" y="730"/>
                    <a:pt x="105" y="730"/>
                  </a:cubicBezTo>
                  <a:cubicBezTo>
                    <a:pt x="107" y="737"/>
                    <a:pt x="107" y="737"/>
                    <a:pt x="107" y="737"/>
                  </a:cubicBezTo>
                  <a:cubicBezTo>
                    <a:pt x="100" y="739"/>
                    <a:pt x="100" y="739"/>
                    <a:pt x="100" y="739"/>
                  </a:cubicBezTo>
                  <a:cubicBezTo>
                    <a:pt x="95" y="747"/>
                    <a:pt x="95" y="747"/>
                    <a:pt x="95" y="747"/>
                  </a:cubicBezTo>
                  <a:cubicBezTo>
                    <a:pt x="93" y="758"/>
                    <a:pt x="93" y="758"/>
                    <a:pt x="93" y="758"/>
                  </a:cubicBezTo>
                  <a:close/>
                  <a:moveTo>
                    <a:pt x="188" y="63"/>
                  </a:moveTo>
                  <a:cubicBezTo>
                    <a:pt x="184" y="67"/>
                    <a:pt x="185" y="71"/>
                    <a:pt x="185" y="74"/>
                  </a:cubicBezTo>
                  <a:cubicBezTo>
                    <a:pt x="185" y="76"/>
                    <a:pt x="184" y="86"/>
                    <a:pt x="182" y="91"/>
                  </a:cubicBezTo>
                  <a:cubicBezTo>
                    <a:pt x="180" y="97"/>
                    <a:pt x="179" y="105"/>
                    <a:pt x="179" y="109"/>
                  </a:cubicBezTo>
                  <a:cubicBezTo>
                    <a:pt x="179" y="112"/>
                    <a:pt x="186" y="111"/>
                    <a:pt x="190" y="106"/>
                  </a:cubicBezTo>
                  <a:cubicBezTo>
                    <a:pt x="194" y="101"/>
                    <a:pt x="198" y="100"/>
                    <a:pt x="203" y="100"/>
                  </a:cubicBezTo>
                  <a:cubicBezTo>
                    <a:pt x="207" y="100"/>
                    <a:pt x="216" y="90"/>
                    <a:pt x="216" y="87"/>
                  </a:cubicBezTo>
                  <a:cubicBezTo>
                    <a:pt x="217" y="83"/>
                    <a:pt x="209" y="73"/>
                    <a:pt x="206" y="70"/>
                  </a:cubicBezTo>
                  <a:cubicBezTo>
                    <a:pt x="203" y="66"/>
                    <a:pt x="199" y="68"/>
                    <a:pt x="198" y="68"/>
                  </a:cubicBezTo>
                  <a:cubicBezTo>
                    <a:pt x="198" y="69"/>
                    <a:pt x="196" y="69"/>
                    <a:pt x="196" y="66"/>
                  </a:cubicBezTo>
                  <a:cubicBezTo>
                    <a:pt x="195" y="63"/>
                    <a:pt x="193" y="62"/>
                    <a:pt x="191" y="62"/>
                  </a:cubicBezTo>
                  <a:cubicBezTo>
                    <a:pt x="189" y="61"/>
                    <a:pt x="188" y="63"/>
                    <a:pt x="188" y="63"/>
                  </a:cubicBezTo>
                  <a:close/>
                  <a:moveTo>
                    <a:pt x="138" y="50"/>
                  </a:moveTo>
                  <a:cubicBezTo>
                    <a:pt x="136" y="51"/>
                    <a:pt x="135" y="58"/>
                    <a:pt x="132" y="57"/>
                  </a:cubicBezTo>
                  <a:cubicBezTo>
                    <a:pt x="130" y="56"/>
                    <a:pt x="122" y="53"/>
                    <a:pt x="120" y="51"/>
                  </a:cubicBezTo>
                  <a:cubicBezTo>
                    <a:pt x="118" y="49"/>
                    <a:pt x="120" y="44"/>
                    <a:pt x="124" y="45"/>
                  </a:cubicBezTo>
                  <a:cubicBezTo>
                    <a:pt x="128" y="45"/>
                    <a:pt x="133" y="45"/>
                    <a:pt x="128" y="39"/>
                  </a:cubicBezTo>
                  <a:cubicBezTo>
                    <a:pt x="124" y="34"/>
                    <a:pt x="123" y="35"/>
                    <a:pt x="128" y="29"/>
                  </a:cubicBezTo>
                  <a:cubicBezTo>
                    <a:pt x="132" y="24"/>
                    <a:pt x="131" y="20"/>
                    <a:pt x="130" y="16"/>
                  </a:cubicBezTo>
                  <a:cubicBezTo>
                    <a:pt x="130" y="12"/>
                    <a:pt x="141" y="12"/>
                    <a:pt x="141" y="9"/>
                  </a:cubicBezTo>
                  <a:cubicBezTo>
                    <a:pt x="142" y="5"/>
                    <a:pt x="143" y="0"/>
                    <a:pt x="148" y="7"/>
                  </a:cubicBezTo>
                  <a:cubicBezTo>
                    <a:pt x="152" y="13"/>
                    <a:pt x="154" y="16"/>
                    <a:pt x="157" y="17"/>
                  </a:cubicBezTo>
                  <a:cubicBezTo>
                    <a:pt x="160" y="18"/>
                    <a:pt x="156" y="21"/>
                    <a:pt x="155" y="24"/>
                  </a:cubicBezTo>
                  <a:cubicBezTo>
                    <a:pt x="154" y="27"/>
                    <a:pt x="157" y="33"/>
                    <a:pt x="156" y="34"/>
                  </a:cubicBezTo>
                  <a:cubicBezTo>
                    <a:pt x="156" y="36"/>
                    <a:pt x="146" y="39"/>
                    <a:pt x="145" y="40"/>
                  </a:cubicBezTo>
                  <a:cubicBezTo>
                    <a:pt x="145" y="41"/>
                    <a:pt x="153" y="41"/>
                    <a:pt x="156" y="39"/>
                  </a:cubicBezTo>
                  <a:cubicBezTo>
                    <a:pt x="160" y="37"/>
                    <a:pt x="160" y="38"/>
                    <a:pt x="160" y="42"/>
                  </a:cubicBezTo>
                  <a:cubicBezTo>
                    <a:pt x="160" y="45"/>
                    <a:pt x="166" y="48"/>
                    <a:pt x="167" y="45"/>
                  </a:cubicBezTo>
                  <a:cubicBezTo>
                    <a:pt x="167" y="42"/>
                    <a:pt x="173" y="44"/>
                    <a:pt x="175" y="50"/>
                  </a:cubicBezTo>
                  <a:cubicBezTo>
                    <a:pt x="177" y="57"/>
                    <a:pt x="175" y="63"/>
                    <a:pt x="175" y="66"/>
                  </a:cubicBezTo>
                  <a:cubicBezTo>
                    <a:pt x="175" y="69"/>
                    <a:pt x="178" y="72"/>
                    <a:pt x="178" y="76"/>
                  </a:cubicBezTo>
                  <a:cubicBezTo>
                    <a:pt x="178" y="80"/>
                    <a:pt x="170" y="84"/>
                    <a:pt x="166" y="85"/>
                  </a:cubicBezTo>
                  <a:cubicBezTo>
                    <a:pt x="163" y="85"/>
                    <a:pt x="153" y="75"/>
                    <a:pt x="148" y="76"/>
                  </a:cubicBezTo>
                  <a:cubicBezTo>
                    <a:pt x="143" y="77"/>
                    <a:pt x="142" y="71"/>
                    <a:pt x="140" y="68"/>
                  </a:cubicBezTo>
                  <a:cubicBezTo>
                    <a:pt x="138" y="64"/>
                    <a:pt x="136" y="66"/>
                    <a:pt x="136" y="61"/>
                  </a:cubicBezTo>
                  <a:cubicBezTo>
                    <a:pt x="137" y="57"/>
                    <a:pt x="141" y="54"/>
                    <a:pt x="141" y="52"/>
                  </a:cubicBezTo>
                  <a:cubicBezTo>
                    <a:pt x="140" y="50"/>
                    <a:pt x="138" y="50"/>
                    <a:pt x="138" y="5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7" name="Freeform 64"/>
            <p:cNvSpPr>
              <a:spLocks/>
            </p:cNvSpPr>
            <p:nvPr/>
          </p:nvSpPr>
          <p:spPr bwMode="auto">
            <a:xfrm>
              <a:off x="3571" y="3584"/>
              <a:ext cx="428" cy="630"/>
            </a:xfrm>
            <a:custGeom>
              <a:avLst/>
              <a:gdLst>
                <a:gd name="T0" fmla="*/ 97 w 205"/>
                <a:gd name="T1" fmla="*/ 4 h 302"/>
                <a:gd name="T2" fmla="*/ 87 w 205"/>
                <a:gd name="T3" fmla="*/ 0 h 302"/>
                <a:gd name="T4" fmla="*/ 81 w 205"/>
                <a:gd name="T5" fmla="*/ 13 h 302"/>
                <a:gd name="T6" fmla="*/ 82 w 205"/>
                <a:gd name="T7" fmla="*/ 19 h 302"/>
                <a:gd name="T8" fmla="*/ 89 w 205"/>
                <a:gd name="T9" fmla="*/ 36 h 302"/>
                <a:gd name="T10" fmla="*/ 98 w 205"/>
                <a:gd name="T11" fmla="*/ 39 h 302"/>
                <a:gd name="T12" fmla="*/ 87 w 205"/>
                <a:gd name="T13" fmla="*/ 55 h 302"/>
                <a:gd name="T14" fmla="*/ 73 w 205"/>
                <a:gd name="T15" fmla="*/ 55 h 302"/>
                <a:gd name="T16" fmla="*/ 67 w 205"/>
                <a:gd name="T17" fmla="*/ 63 h 302"/>
                <a:gd name="T18" fmla="*/ 77 w 205"/>
                <a:gd name="T19" fmla="*/ 77 h 302"/>
                <a:gd name="T20" fmla="*/ 86 w 205"/>
                <a:gd name="T21" fmla="*/ 94 h 302"/>
                <a:gd name="T22" fmla="*/ 97 w 205"/>
                <a:gd name="T23" fmla="*/ 93 h 302"/>
                <a:gd name="T24" fmla="*/ 109 w 205"/>
                <a:gd name="T25" fmla="*/ 114 h 302"/>
                <a:gd name="T26" fmla="*/ 98 w 205"/>
                <a:gd name="T27" fmla="*/ 121 h 302"/>
                <a:gd name="T28" fmla="*/ 76 w 205"/>
                <a:gd name="T29" fmla="*/ 150 h 302"/>
                <a:gd name="T30" fmla="*/ 80 w 205"/>
                <a:gd name="T31" fmla="*/ 167 h 302"/>
                <a:gd name="T32" fmla="*/ 84 w 205"/>
                <a:gd name="T33" fmla="*/ 183 h 302"/>
                <a:gd name="T34" fmla="*/ 54 w 205"/>
                <a:gd name="T35" fmla="*/ 204 h 302"/>
                <a:gd name="T36" fmla="*/ 43 w 205"/>
                <a:gd name="T37" fmla="*/ 222 h 302"/>
                <a:gd name="T38" fmla="*/ 28 w 205"/>
                <a:gd name="T39" fmla="*/ 233 h 302"/>
                <a:gd name="T40" fmla="*/ 3 w 205"/>
                <a:gd name="T41" fmla="*/ 244 h 302"/>
                <a:gd name="T42" fmla="*/ 2 w 205"/>
                <a:gd name="T43" fmla="*/ 258 h 302"/>
                <a:gd name="T44" fmla="*/ 10 w 205"/>
                <a:gd name="T45" fmla="*/ 273 h 302"/>
                <a:gd name="T46" fmla="*/ 0 w 205"/>
                <a:gd name="T47" fmla="*/ 288 h 302"/>
                <a:gd name="T48" fmla="*/ 10 w 205"/>
                <a:gd name="T49" fmla="*/ 299 h 302"/>
                <a:gd name="T50" fmla="*/ 34 w 205"/>
                <a:gd name="T51" fmla="*/ 299 h 302"/>
                <a:gd name="T52" fmla="*/ 55 w 205"/>
                <a:gd name="T53" fmla="*/ 295 h 302"/>
                <a:gd name="T54" fmla="*/ 89 w 205"/>
                <a:gd name="T55" fmla="*/ 274 h 302"/>
                <a:gd name="T56" fmla="*/ 104 w 205"/>
                <a:gd name="T57" fmla="*/ 253 h 302"/>
                <a:gd name="T58" fmla="*/ 131 w 205"/>
                <a:gd name="T59" fmla="*/ 244 h 302"/>
                <a:gd name="T60" fmla="*/ 155 w 205"/>
                <a:gd name="T61" fmla="*/ 237 h 302"/>
                <a:gd name="T62" fmla="*/ 178 w 205"/>
                <a:gd name="T63" fmla="*/ 239 h 302"/>
                <a:gd name="T64" fmla="*/ 198 w 205"/>
                <a:gd name="T65" fmla="*/ 218 h 302"/>
                <a:gd name="T66" fmla="*/ 196 w 205"/>
                <a:gd name="T67" fmla="*/ 199 h 302"/>
                <a:gd name="T68" fmla="*/ 197 w 205"/>
                <a:gd name="T69" fmla="*/ 176 h 302"/>
                <a:gd name="T70" fmla="*/ 199 w 205"/>
                <a:gd name="T71" fmla="*/ 145 h 302"/>
                <a:gd name="T72" fmla="*/ 187 w 205"/>
                <a:gd name="T73" fmla="*/ 141 h 302"/>
                <a:gd name="T74" fmla="*/ 186 w 205"/>
                <a:gd name="T75" fmla="*/ 120 h 302"/>
                <a:gd name="T76" fmla="*/ 205 w 205"/>
                <a:gd name="T77" fmla="*/ 104 h 302"/>
                <a:gd name="T78" fmla="*/ 193 w 205"/>
                <a:gd name="T79" fmla="*/ 93 h 302"/>
                <a:gd name="T80" fmla="*/ 193 w 205"/>
                <a:gd name="T81" fmla="*/ 81 h 302"/>
                <a:gd name="T82" fmla="*/ 183 w 205"/>
                <a:gd name="T83" fmla="*/ 73 h 302"/>
                <a:gd name="T84" fmla="*/ 178 w 205"/>
                <a:gd name="T85" fmla="*/ 54 h 302"/>
                <a:gd name="T86" fmla="*/ 170 w 205"/>
                <a:gd name="T87" fmla="*/ 55 h 302"/>
                <a:gd name="T88" fmla="*/ 164 w 205"/>
                <a:gd name="T89" fmla="*/ 48 h 302"/>
                <a:gd name="T90" fmla="*/ 152 w 205"/>
                <a:gd name="T91" fmla="*/ 51 h 302"/>
                <a:gd name="T92" fmla="*/ 143 w 205"/>
                <a:gd name="T93" fmla="*/ 49 h 302"/>
                <a:gd name="T94" fmla="*/ 145 w 205"/>
                <a:gd name="T95" fmla="*/ 39 h 302"/>
                <a:gd name="T96" fmla="*/ 134 w 205"/>
                <a:gd name="T97" fmla="*/ 38 h 302"/>
                <a:gd name="T98" fmla="*/ 129 w 205"/>
                <a:gd name="T99" fmla="*/ 31 h 302"/>
                <a:gd name="T100" fmla="*/ 125 w 205"/>
                <a:gd name="T101" fmla="*/ 24 h 302"/>
                <a:gd name="T102" fmla="*/ 114 w 205"/>
                <a:gd name="T103" fmla="*/ 14 h 302"/>
                <a:gd name="T104" fmla="*/ 106 w 205"/>
                <a:gd name="T105" fmla="*/ 5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5" h="302">
                  <a:moveTo>
                    <a:pt x="103" y="2"/>
                  </a:moveTo>
                  <a:cubicBezTo>
                    <a:pt x="97" y="4"/>
                    <a:pt x="97" y="4"/>
                    <a:pt x="97" y="4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0" y="5"/>
                    <a:pt x="80" y="5"/>
                    <a:pt x="80" y="5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84" y="84"/>
                    <a:pt x="84" y="84"/>
                    <a:pt x="84" y="84"/>
                  </a:cubicBezTo>
                  <a:cubicBezTo>
                    <a:pt x="86" y="94"/>
                    <a:pt x="86" y="94"/>
                    <a:pt x="86" y="94"/>
                  </a:cubicBezTo>
                  <a:cubicBezTo>
                    <a:pt x="92" y="94"/>
                    <a:pt x="92" y="94"/>
                    <a:pt x="92" y="9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108" y="103"/>
                    <a:pt x="108" y="103"/>
                    <a:pt x="108" y="103"/>
                  </a:cubicBezTo>
                  <a:cubicBezTo>
                    <a:pt x="109" y="114"/>
                    <a:pt x="109" y="114"/>
                    <a:pt x="109" y="114"/>
                  </a:cubicBezTo>
                  <a:cubicBezTo>
                    <a:pt x="107" y="119"/>
                    <a:pt x="107" y="119"/>
                    <a:pt x="107" y="119"/>
                  </a:cubicBezTo>
                  <a:cubicBezTo>
                    <a:pt x="98" y="121"/>
                    <a:pt x="98" y="121"/>
                    <a:pt x="98" y="121"/>
                  </a:cubicBezTo>
                  <a:cubicBezTo>
                    <a:pt x="84" y="143"/>
                    <a:pt x="84" y="143"/>
                    <a:pt x="84" y="143"/>
                  </a:cubicBezTo>
                  <a:cubicBezTo>
                    <a:pt x="76" y="150"/>
                    <a:pt x="76" y="150"/>
                    <a:pt x="76" y="150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84" y="183"/>
                    <a:pt x="84" y="183"/>
                    <a:pt x="84" y="183"/>
                  </a:cubicBezTo>
                  <a:cubicBezTo>
                    <a:pt x="71" y="197"/>
                    <a:pt x="71" y="197"/>
                    <a:pt x="71" y="197"/>
                  </a:cubicBezTo>
                  <a:cubicBezTo>
                    <a:pt x="54" y="204"/>
                    <a:pt x="54" y="204"/>
                    <a:pt x="54" y="204"/>
                  </a:cubicBezTo>
                  <a:cubicBezTo>
                    <a:pt x="52" y="214"/>
                    <a:pt x="52" y="214"/>
                    <a:pt x="52" y="214"/>
                  </a:cubicBezTo>
                  <a:cubicBezTo>
                    <a:pt x="43" y="222"/>
                    <a:pt x="43" y="222"/>
                    <a:pt x="43" y="222"/>
                  </a:cubicBezTo>
                  <a:cubicBezTo>
                    <a:pt x="40" y="234"/>
                    <a:pt x="40" y="234"/>
                    <a:pt x="40" y="234"/>
                  </a:cubicBezTo>
                  <a:cubicBezTo>
                    <a:pt x="28" y="233"/>
                    <a:pt x="28" y="233"/>
                    <a:pt x="28" y="233"/>
                  </a:cubicBezTo>
                  <a:cubicBezTo>
                    <a:pt x="14" y="244"/>
                    <a:pt x="14" y="244"/>
                    <a:pt x="14" y="244"/>
                  </a:cubicBezTo>
                  <a:cubicBezTo>
                    <a:pt x="3" y="244"/>
                    <a:pt x="3" y="244"/>
                    <a:pt x="3" y="244"/>
                  </a:cubicBezTo>
                  <a:cubicBezTo>
                    <a:pt x="3" y="252"/>
                    <a:pt x="3" y="252"/>
                    <a:pt x="3" y="252"/>
                  </a:cubicBezTo>
                  <a:cubicBezTo>
                    <a:pt x="2" y="258"/>
                    <a:pt x="2" y="258"/>
                    <a:pt x="2" y="258"/>
                  </a:cubicBezTo>
                  <a:cubicBezTo>
                    <a:pt x="3" y="273"/>
                    <a:pt x="3" y="273"/>
                    <a:pt x="3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1" y="281"/>
                    <a:pt x="1" y="281"/>
                    <a:pt x="1" y="281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1" y="288"/>
                    <a:pt x="1" y="289"/>
                    <a:pt x="1" y="290"/>
                  </a:cubicBezTo>
                  <a:cubicBezTo>
                    <a:pt x="1" y="295"/>
                    <a:pt x="7" y="296"/>
                    <a:pt x="10" y="299"/>
                  </a:cubicBezTo>
                  <a:cubicBezTo>
                    <a:pt x="13" y="302"/>
                    <a:pt x="20" y="302"/>
                    <a:pt x="24" y="300"/>
                  </a:cubicBezTo>
                  <a:cubicBezTo>
                    <a:pt x="27" y="298"/>
                    <a:pt x="30" y="296"/>
                    <a:pt x="34" y="299"/>
                  </a:cubicBezTo>
                  <a:cubicBezTo>
                    <a:pt x="37" y="301"/>
                    <a:pt x="41" y="299"/>
                    <a:pt x="45" y="298"/>
                  </a:cubicBezTo>
                  <a:cubicBezTo>
                    <a:pt x="49" y="298"/>
                    <a:pt x="52" y="294"/>
                    <a:pt x="55" y="295"/>
                  </a:cubicBezTo>
                  <a:cubicBezTo>
                    <a:pt x="58" y="297"/>
                    <a:pt x="62" y="292"/>
                    <a:pt x="64" y="289"/>
                  </a:cubicBezTo>
                  <a:cubicBezTo>
                    <a:pt x="66" y="286"/>
                    <a:pt x="82" y="274"/>
                    <a:pt x="89" y="274"/>
                  </a:cubicBezTo>
                  <a:cubicBezTo>
                    <a:pt x="95" y="274"/>
                    <a:pt x="96" y="271"/>
                    <a:pt x="97" y="265"/>
                  </a:cubicBezTo>
                  <a:cubicBezTo>
                    <a:pt x="98" y="259"/>
                    <a:pt x="101" y="258"/>
                    <a:pt x="104" y="253"/>
                  </a:cubicBezTo>
                  <a:cubicBezTo>
                    <a:pt x="107" y="248"/>
                    <a:pt x="112" y="242"/>
                    <a:pt x="116" y="242"/>
                  </a:cubicBezTo>
                  <a:cubicBezTo>
                    <a:pt x="120" y="242"/>
                    <a:pt x="127" y="240"/>
                    <a:pt x="131" y="244"/>
                  </a:cubicBezTo>
                  <a:cubicBezTo>
                    <a:pt x="134" y="247"/>
                    <a:pt x="142" y="242"/>
                    <a:pt x="145" y="239"/>
                  </a:cubicBezTo>
                  <a:cubicBezTo>
                    <a:pt x="149" y="236"/>
                    <a:pt x="154" y="235"/>
                    <a:pt x="155" y="237"/>
                  </a:cubicBezTo>
                  <a:cubicBezTo>
                    <a:pt x="157" y="239"/>
                    <a:pt x="160" y="239"/>
                    <a:pt x="164" y="239"/>
                  </a:cubicBezTo>
                  <a:cubicBezTo>
                    <a:pt x="168" y="239"/>
                    <a:pt x="173" y="240"/>
                    <a:pt x="178" y="239"/>
                  </a:cubicBezTo>
                  <a:cubicBezTo>
                    <a:pt x="182" y="239"/>
                    <a:pt x="187" y="235"/>
                    <a:pt x="188" y="231"/>
                  </a:cubicBezTo>
                  <a:cubicBezTo>
                    <a:pt x="189" y="227"/>
                    <a:pt x="193" y="220"/>
                    <a:pt x="198" y="218"/>
                  </a:cubicBezTo>
                  <a:cubicBezTo>
                    <a:pt x="202" y="216"/>
                    <a:pt x="204" y="212"/>
                    <a:pt x="201" y="209"/>
                  </a:cubicBezTo>
                  <a:cubicBezTo>
                    <a:pt x="198" y="205"/>
                    <a:pt x="195" y="202"/>
                    <a:pt x="196" y="199"/>
                  </a:cubicBezTo>
                  <a:cubicBezTo>
                    <a:pt x="197" y="196"/>
                    <a:pt x="197" y="193"/>
                    <a:pt x="197" y="190"/>
                  </a:cubicBezTo>
                  <a:cubicBezTo>
                    <a:pt x="196" y="186"/>
                    <a:pt x="197" y="181"/>
                    <a:pt x="197" y="176"/>
                  </a:cubicBezTo>
                  <a:cubicBezTo>
                    <a:pt x="197" y="170"/>
                    <a:pt x="196" y="166"/>
                    <a:pt x="198" y="163"/>
                  </a:cubicBezTo>
                  <a:cubicBezTo>
                    <a:pt x="200" y="159"/>
                    <a:pt x="202" y="149"/>
                    <a:pt x="199" y="145"/>
                  </a:cubicBezTo>
                  <a:cubicBezTo>
                    <a:pt x="196" y="142"/>
                    <a:pt x="199" y="139"/>
                    <a:pt x="195" y="137"/>
                  </a:cubicBezTo>
                  <a:cubicBezTo>
                    <a:pt x="192" y="135"/>
                    <a:pt x="189" y="139"/>
                    <a:pt x="187" y="141"/>
                  </a:cubicBezTo>
                  <a:cubicBezTo>
                    <a:pt x="184" y="143"/>
                    <a:pt x="180" y="143"/>
                    <a:pt x="182" y="137"/>
                  </a:cubicBezTo>
                  <a:cubicBezTo>
                    <a:pt x="183" y="130"/>
                    <a:pt x="186" y="123"/>
                    <a:pt x="186" y="120"/>
                  </a:cubicBezTo>
                  <a:cubicBezTo>
                    <a:pt x="186" y="117"/>
                    <a:pt x="198" y="111"/>
                    <a:pt x="202" y="107"/>
                  </a:cubicBezTo>
                  <a:cubicBezTo>
                    <a:pt x="203" y="105"/>
                    <a:pt x="204" y="104"/>
                    <a:pt x="205" y="104"/>
                  </a:cubicBezTo>
                  <a:cubicBezTo>
                    <a:pt x="200" y="95"/>
                    <a:pt x="200" y="95"/>
                    <a:pt x="200" y="95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93" y="81"/>
                    <a:pt x="193" y="81"/>
                    <a:pt x="193" y="81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3" y="73"/>
                    <a:pt x="183" y="73"/>
                    <a:pt x="183" y="73"/>
                  </a:cubicBezTo>
                  <a:cubicBezTo>
                    <a:pt x="183" y="62"/>
                    <a:pt x="183" y="62"/>
                    <a:pt x="183" y="62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74" y="51"/>
                    <a:pt x="174" y="51"/>
                    <a:pt x="174" y="51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59" y="45"/>
                    <a:pt x="159" y="45"/>
                    <a:pt x="159" y="45"/>
                  </a:cubicBezTo>
                  <a:cubicBezTo>
                    <a:pt x="152" y="51"/>
                    <a:pt x="152" y="51"/>
                    <a:pt x="152" y="51"/>
                  </a:cubicBezTo>
                  <a:cubicBezTo>
                    <a:pt x="151" y="54"/>
                    <a:pt x="151" y="54"/>
                    <a:pt x="151" y="54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5" y="39"/>
                    <a:pt x="145" y="39"/>
                    <a:pt x="145" y="39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6" y="30"/>
                    <a:pt x="126" y="30"/>
                    <a:pt x="126" y="30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6" y="5"/>
                    <a:pt x="106" y="5"/>
                    <a:pt x="106" y="5"/>
                  </a:cubicBezTo>
                  <a:lnTo>
                    <a:pt x="103" y="2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8" name="Freeform 65"/>
            <p:cNvSpPr>
              <a:spLocks/>
            </p:cNvSpPr>
            <p:nvPr/>
          </p:nvSpPr>
          <p:spPr bwMode="auto">
            <a:xfrm>
              <a:off x="2429" y="3995"/>
              <a:ext cx="340" cy="233"/>
            </a:xfrm>
            <a:custGeom>
              <a:avLst/>
              <a:gdLst>
                <a:gd name="T0" fmla="*/ 132 w 163"/>
                <a:gd name="T1" fmla="*/ 0 h 112"/>
                <a:gd name="T2" fmla="*/ 135 w 163"/>
                <a:gd name="T3" fmla="*/ 8 h 112"/>
                <a:gd name="T4" fmla="*/ 143 w 163"/>
                <a:gd name="T5" fmla="*/ 10 h 112"/>
                <a:gd name="T6" fmla="*/ 146 w 163"/>
                <a:gd name="T7" fmla="*/ 18 h 112"/>
                <a:gd name="T8" fmla="*/ 150 w 163"/>
                <a:gd name="T9" fmla="*/ 27 h 112"/>
                <a:gd name="T10" fmla="*/ 163 w 163"/>
                <a:gd name="T11" fmla="*/ 31 h 112"/>
                <a:gd name="T12" fmla="*/ 161 w 163"/>
                <a:gd name="T13" fmla="*/ 36 h 112"/>
                <a:gd name="T14" fmla="*/ 154 w 163"/>
                <a:gd name="T15" fmla="*/ 37 h 112"/>
                <a:gd name="T16" fmla="*/ 159 w 163"/>
                <a:gd name="T17" fmla="*/ 47 h 112"/>
                <a:gd name="T18" fmla="*/ 161 w 163"/>
                <a:gd name="T19" fmla="*/ 55 h 112"/>
                <a:gd name="T20" fmla="*/ 154 w 163"/>
                <a:gd name="T21" fmla="*/ 60 h 112"/>
                <a:gd name="T22" fmla="*/ 158 w 163"/>
                <a:gd name="T23" fmla="*/ 66 h 112"/>
                <a:gd name="T24" fmla="*/ 152 w 163"/>
                <a:gd name="T25" fmla="*/ 73 h 112"/>
                <a:gd name="T26" fmla="*/ 147 w 163"/>
                <a:gd name="T27" fmla="*/ 75 h 112"/>
                <a:gd name="T28" fmla="*/ 142 w 163"/>
                <a:gd name="T29" fmla="*/ 71 h 112"/>
                <a:gd name="T30" fmla="*/ 138 w 163"/>
                <a:gd name="T31" fmla="*/ 74 h 112"/>
                <a:gd name="T32" fmla="*/ 137 w 163"/>
                <a:gd name="T33" fmla="*/ 81 h 112"/>
                <a:gd name="T34" fmla="*/ 128 w 163"/>
                <a:gd name="T35" fmla="*/ 89 h 112"/>
                <a:gd name="T36" fmla="*/ 121 w 163"/>
                <a:gd name="T37" fmla="*/ 89 h 112"/>
                <a:gd name="T38" fmla="*/ 104 w 163"/>
                <a:gd name="T39" fmla="*/ 96 h 112"/>
                <a:gd name="T40" fmla="*/ 111 w 163"/>
                <a:gd name="T41" fmla="*/ 104 h 112"/>
                <a:gd name="T42" fmla="*/ 113 w 163"/>
                <a:gd name="T43" fmla="*/ 111 h 112"/>
                <a:gd name="T44" fmla="*/ 105 w 163"/>
                <a:gd name="T45" fmla="*/ 112 h 112"/>
                <a:gd name="T46" fmla="*/ 100 w 163"/>
                <a:gd name="T47" fmla="*/ 104 h 112"/>
                <a:gd name="T48" fmla="*/ 84 w 163"/>
                <a:gd name="T49" fmla="*/ 99 h 112"/>
                <a:gd name="T50" fmla="*/ 71 w 163"/>
                <a:gd name="T51" fmla="*/ 104 h 112"/>
                <a:gd name="T52" fmla="*/ 59 w 163"/>
                <a:gd name="T53" fmla="*/ 101 h 112"/>
                <a:gd name="T54" fmla="*/ 50 w 163"/>
                <a:gd name="T55" fmla="*/ 96 h 112"/>
                <a:gd name="T56" fmla="*/ 49 w 163"/>
                <a:gd name="T57" fmla="*/ 87 h 112"/>
                <a:gd name="T58" fmla="*/ 41 w 163"/>
                <a:gd name="T59" fmla="*/ 85 h 112"/>
                <a:gd name="T60" fmla="*/ 38 w 163"/>
                <a:gd name="T61" fmla="*/ 93 h 112"/>
                <a:gd name="T62" fmla="*/ 29 w 163"/>
                <a:gd name="T63" fmla="*/ 96 h 112"/>
                <a:gd name="T64" fmla="*/ 9 w 163"/>
                <a:gd name="T65" fmla="*/ 40 h 112"/>
                <a:gd name="T66" fmla="*/ 0 w 163"/>
                <a:gd name="T67" fmla="*/ 17 h 112"/>
                <a:gd name="T68" fmla="*/ 7 w 163"/>
                <a:gd name="T69" fmla="*/ 10 h 112"/>
                <a:gd name="T70" fmla="*/ 12 w 163"/>
                <a:gd name="T71" fmla="*/ 15 h 112"/>
                <a:gd name="T72" fmla="*/ 17 w 163"/>
                <a:gd name="T73" fmla="*/ 13 h 112"/>
                <a:gd name="T74" fmla="*/ 23 w 163"/>
                <a:gd name="T75" fmla="*/ 11 h 112"/>
                <a:gd name="T76" fmla="*/ 34 w 163"/>
                <a:gd name="T77" fmla="*/ 11 h 112"/>
                <a:gd name="T78" fmla="*/ 42 w 163"/>
                <a:gd name="T79" fmla="*/ 4 h 112"/>
                <a:gd name="T80" fmla="*/ 53 w 163"/>
                <a:gd name="T81" fmla="*/ 0 h 112"/>
                <a:gd name="T82" fmla="*/ 62 w 163"/>
                <a:gd name="T83" fmla="*/ 0 h 112"/>
                <a:gd name="T84" fmla="*/ 70 w 163"/>
                <a:gd name="T85" fmla="*/ 9 h 112"/>
                <a:gd name="T86" fmla="*/ 70 w 163"/>
                <a:gd name="T87" fmla="*/ 16 h 112"/>
                <a:gd name="T88" fmla="*/ 84 w 163"/>
                <a:gd name="T89" fmla="*/ 26 h 112"/>
                <a:gd name="T90" fmla="*/ 88 w 163"/>
                <a:gd name="T91" fmla="*/ 18 h 112"/>
                <a:gd name="T92" fmla="*/ 95 w 163"/>
                <a:gd name="T93" fmla="*/ 8 h 112"/>
                <a:gd name="T94" fmla="*/ 100 w 163"/>
                <a:gd name="T95" fmla="*/ 13 h 112"/>
                <a:gd name="T96" fmla="*/ 104 w 163"/>
                <a:gd name="T97" fmla="*/ 8 h 112"/>
                <a:gd name="T98" fmla="*/ 109 w 163"/>
                <a:gd name="T99" fmla="*/ 11 h 112"/>
                <a:gd name="T100" fmla="*/ 114 w 163"/>
                <a:gd name="T101" fmla="*/ 7 h 112"/>
                <a:gd name="T102" fmla="*/ 123 w 163"/>
                <a:gd name="T103" fmla="*/ 7 h 112"/>
                <a:gd name="T104" fmla="*/ 132 w 163"/>
                <a:gd name="T10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3" h="112">
                  <a:moveTo>
                    <a:pt x="132" y="0"/>
                  </a:moveTo>
                  <a:cubicBezTo>
                    <a:pt x="135" y="8"/>
                    <a:pt x="135" y="8"/>
                    <a:pt x="135" y="8"/>
                  </a:cubicBezTo>
                  <a:cubicBezTo>
                    <a:pt x="143" y="10"/>
                    <a:pt x="143" y="10"/>
                    <a:pt x="143" y="10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6"/>
                    <a:pt x="161" y="36"/>
                    <a:pt x="161" y="36"/>
                  </a:cubicBezTo>
                  <a:cubicBezTo>
                    <a:pt x="154" y="37"/>
                    <a:pt x="154" y="37"/>
                    <a:pt x="154" y="37"/>
                  </a:cubicBezTo>
                  <a:cubicBezTo>
                    <a:pt x="159" y="47"/>
                    <a:pt x="159" y="47"/>
                    <a:pt x="159" y="47"/>
                  </a:cubicBezTo>
                  <a:cubicBezTo>
                    <a:pt x="161" y="55"/>
                    <a:pt x="161" y="55"/>
                    <a:pt x="161" y="55"/>
                  </a:cubicBezTo>
                  <a:cubicBezTo>
                    <a:pt x="154" y="60"/>
                    <a:pt x="154" y="60"/>
                    <a:pt x="154" y="60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2" y="73"/>
                    <a:pt x="152" y="73"/>
                    <a:pt x="152" y="73"/>
                  </a:cubicBezTo>
                  <a:cubicBezTo>
                    <a:pt x="147" y="75"/>
                    <a:pt x="147" y="75"/>
                    <a:pt x="147" y="75"/>
                  </a:cubicBezTo>
                  <a:cubicBezTo>
                    <a:pt x="142" y="71"/>
                    <a:pt x="142" y="71"/>
                    <a:pt x="142" y="71"/>
                  </a:cubicBezTo>
                  <a:cubicBezTo>
                    <a:pt x="138" y="74"/>
                    <a:pt x="138" y="74"/>
                    <a:pt x="138" y="74"/>
                  </a:cubicBezTo>
                  <a:cubicBezTo>
                    <a:pt x="137" y="81"/>
                    <a:pt x="137" y="81"/>
                    <a:pt x="137" y="8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3" y="111"/>
                    <a:pt x="113" y="111"/>
                    <a:pt x="113" y="111"/>
                  </a:cubicBezTo>
                  <a:cubicBezTo>
                    <a:pt x="105" y="112"/>
                    <a:pt x="105" y="112"/>
                    <a:pt x="105" y="112"/>
                  </a:cubicBezTo>
                  <a:cubicBezTo>
                    <a:pt x="104" y="110"/>
                    <a:pt x="103" y="107"/>
                    <a:pt x="100" y="104"/>
                  </a:cubicBezTo>
                  <a:cubicBezTo>
                    <a:pt x="93" y="98"/>
                    <a:pt x="86" y="96"/>
                    <a:pt x="84" y="99"/>
                  </a:cubicBezTo>
                  <a:cubicBezTo>
                    <a:pt x="82" y="101"/>
                    <a:pt x="75" y="105"/>
                    <a:pt x="71" y="104"/>
                  </a:cubicBezTo>
                  <a:cubicBezTo>
                    <a:pt x="67" y="102"/>
                    <a:pt x="63" y="105"/>
                    <a:pt x="59" y="101"/>
                  </a:cubicBezTo>
                  <a:cubicBezTo>
                    <a:pt x="55" y="98"/>
                    <a:pt x="52" y="99"/>
                    <a:pt x="50" y="96"/>
                  </a:cubicBezTo>
                  <a:cubicBezTo>
                    <a:pt x="49" y="93"/>
                    <a:pt x="49" y="90"/>
                    <a:pt x="49" y="87"/>
                  </a:cubicBezTo>
                  <a:cubicBezTo>
                    <a:pt x="50" y="84"/>
                    <a:pt x="45" y="84"/>
                    <a:pt x="41" y="85"/>
                  </a:cubicBezTo>
                  <a:cubicBezTo>
                    <a:pt x="37" y="85"/>
                    <a:pt x="38" y="93"/>
                    <a:pt x="38" y="93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96"/>
                    <a:pt x="11" y="50"/>
                    <a:pt x="9" y="40"/>
                  </a:cubicBezTo>
                  <a:cubicBezTo>
                    <a:pt x="7" y="33"/>
                    <a:pt x="3" y="23"/>
                    <a:pt x="0" y="1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84" y="26"/>
                    <a:pt x="84" y="26"/>
                    <a:pt x="84" y="26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9" y="11"/>
                    <a:pt x="109" y="11"/>
                    <a:pt x="109" y="11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23" y="7"/>
                    <a:pt x="123" y="7"/>
                    <a:pt x="123" y="7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9" name="Freeform 66"/>
            <p:cNvSpPr>
              <a:spLocks/>
            </p:cNvSpPr>
            <p:nvPr/>
          </p:nvSpPr>
          <p:spPr bwMode="auto">
            <a:xfrm>
              <a:off x="2361" y="3789"/>
              <a:ext cx="343" cy="260"/>
            </a:xfrm>
            <a:custGeom>
              <a:avLst/>
              <a:gdLst>
                <a:gd name="T0" fmla="*/ 27 w 165"/>
                <a:gd name="T1" fmla="*/ 0 h 125"/>
                <a:gd name="T2" fmla="*/ 33 w 165"/>
                <a:gd name="T3" fmla="*/ 1 h 125"/>
                <a:gd name="T4" fmla="*/ 39 w 165"/>
                <a:gd name="T5" fmla="*/ 7 h 125"/>
                <a:gd name="T6" fmla="*/ 51 w 165"/>
                <a:gd name="T7" fmla="*/ 7 h 125"/>
                <a:gd name="T8" fmla="*/ 71 w 165"/>
                <a:gd name="T9" fmla="*/ 14 h 125"/>
                <a:gd name="T10" fmla="*/ 88 w 165"/>
                <a:gd name="T11" fmla="*/ 35 h 125"/>
                <a:gd name="T12" fmla="*/ 103 w 165"/>
                <a:gd name="T13" fmla="*/ 35 h 125"/>
                <a:gd name="T14" fmla="*/ 110 w 165"/>
                <a:gd name="T15" fmla="*/ 42 h 125"/>
                <a:gd name="T16" fmla="*/ 124 w 165"/>
                <a:gd name="T17" fmla="*/ 41 h 125"/>
                <a:gd name="T18" fmla="*/ 129 w 165"/>
                <a:gd name="T19" fmla="*/ 35 h 125"/>
                <a:gd name="T20" fmla="*/ 136 w 165"/>
                <a:gd name="T21" fmla="*/ 38 h 125"/>
                <a:gd name="T22" fmla="*/ 135 w 165"/>
                <a:gd name="T23" fmla="*/ 52 h 125"/>
                <a:gd name="T24" fmla="*/ 137 w 165"/>
                <a:gd name="T25" fmla="*/ 55 h 125"/>
                <a:gd name="T26" fmla="*/ 135 w 165"/>
                <a:gd name="T27" fmla="*/ 58 h 125"/>
                <a:gd name="T28" fmla="*/ 138 w 165"/>
                <a:gd name="T29" fmla="*/ 62 h 125"/>
                <a:gd name="T30" fmla="*/ 147 w 165"/>
                <a:gd name="T31" fmla="*/ 52 h 125"/>
                <a:gd name="T32" fmla="*/ 156 w 165"/>
                <a:gd name="T33" fmla="*/ 54 h 125"/>
                <a:gd name="T34" fmla="*/ 158 w 165"/>
                <a:gd name="T35" fmla="*/ 64 h 125"/>
                <a:gd name="T36" fmla="*/ 161 w 165"/>
                <a:gd name="T37" fmla="*/ 76 h 125"/>
                <a:gd name="T38" fmla="*/ 159 w 165"/>
                <a:gd name="T39" fmla="*/ 88 h 125"/>
                <a:gd name="T40" fmla="*/ 165 w 165"/>
                <a:gd name="T41" fmla="*/ 99 h 125"/>
                <a:gd name="T42" fmla="*/ 156 w 165"/>
                <a:gd name="T43" fmla="*/ 106 h 125"/>
                <a:gd name="T44" fmla="*/ 147 w 165"/>
                <a:gd name="T45" fmla="*/ 106 h 125"/>
                <a:gd name="T46" fmla="*/ 142 w 165"/>
                <a:gd name="T47" fmla="*/ 110 h 125"/>
                <a:gd name="T48" fmla="*/ 137 w 165"/>
                <a:gd name="T49" fmla="*/ 107 h 125"/>
                <a:gd name="T50" fmla="*/ 133 w 165"/>
                <a:gd name="T51" fmla="*/ 112 h 125"/>
                <a:gd name="T52" fmla="*/ 128 w 165"/>
                <a:gd name="T53" fmla="*/ 107 h 125"/>
                <a:gd name="T54" fmla="*/ 121 w 165"/>
                <a:gd name="T55" fmla="*/ 117 h 125"/>
                <a:gd name="T56" fmla="*/ 117 w 165"/>
                <a:gd name="T57" fmla="*/ 125 h 125"/>
                <a:gd name="T58" fmla="*/ 103 w 165"/>
                <a:gd name="T59" fmla="*/ 115 h 125"/>
                <a:gd name="T60" fmla="*/ 103 w 165"/>
                <a:gd name="T61" fmla="*/ 108 h 125"/>
                <a:gd name="T62" fmla="*/ 95 w 165"/>
                <a:gd name="T63" fmla="*/ 99 h 125"/>
                <a:gd name="T64" fmla="*/ 86 w 165"/>
                <a:gd name="T65" fmla="*/ 99 h 125"/>
                <a:gd name="T66" fmla="*/ 75 w 165"/>
                <a:gd name="T67" fmla="*/ 103 h 125"/>
                <a:gd name="T68" fmla="*/ 67 w 165"/>
                <a:gd name="T69" fmla="*/ 110 h 125"/>
                <a:gd name="T70" fmla="*/ 56 w 165"/>
                <a:gd name="T71" fmla="*/ 110 h 125"/>
                <a:gd name="T72" fmla="*/ 50 w 165"/>
                <a:gd name="T73" fmla="*/ 112 h 125"/>
                <a:gd name="T74" fmla="*/ 45 w 165"/>
                <a:gd name="T75" fmla="*/ 114 h 125"/>
                <a:gd name="T76" fmla="*/ 40 w 165"/>
                <a:gd name="T77" fmla="*/ 109 h 125"/>
                <a:gd name="T78" fmla="*/ 33 w 165"/>
                <a:gd name="T79" fmla="*/ 116 h 125"/>
                <a:gd name="T80" fmla="*/ 28 w 165"/>
                <a:gd name="T81" fmla="*/ 109 h 125"/>
                <a:gd name="T82" fmla="*/ 16 w 165"/>
                <a:gd name="T83" fmla="*/ 91 h 125"/>
                <a:gd name="T84" fmla="*/ 21 w 165"/>
                <a:gd name="T85" fmla="*/ 87 h 125"/>
                <a:gd name="T86" fmla="*/ 20 w 165"/>
                <a:gd name="T87" fmla="*/ 82 h 125"/>
                <a:gd name="T88" fmla="*/ 11 w 165"/>
                <a:gd name="T89" fmla="*/ 84 h 125"/>
                <a:gd name="T90" fmla="*/ 3 w 165"/>
                <a:gd name="T91" fmla="*/ 86 h 125"/>
                <a:gd name="T92" fmla="*/ 0 w 165"/>
                <a:gd name="T93" fmla="*/ 86 h 125"/>
                <a:gd name="T94" fmla="*/ 1 w 165"/>
                <a:gd name="T95" fmla="*/ 81 h 125"/>
                <a:gd name="T96" fmla="*/ 5 w 165"/>
                <a:gd name="T97" fmla="*/ 73 h 125"/>
                <a:gd name="T98" fmla="*/ 2 w 165"/>
                <a:gd name="T99" fmla="*/ 67 h 125"/>
                <a:gd name="T100" fmla="*/ 1 w 165"/>
                <a:gd name="T101" fmla="*/ 50 h 125"/>
                <a:gd name="T102" fmla="*/ 4 w 165"/>
                <a:gd name="T103" fmla="*/ 38 h 125"/>
                <a:gd name="T104" fmla="*/ 13 w 165"/>
                <a:gd name="T105" fmla="*/ 33 h 125"/>
                <a:gd name="T106" fmla="*/ 20 w 165"/>
                <a:gd name="T107" fmla="*/ 29 h 125"/>
                <a:gd name="T108" fmla="*/ 22 w 165"/>
                <a:gd name="T109" fmla="*/ 19 h 125"/>
                <a:gd name="T110" fmla="*/ 27 w 165"/>
                <a:gd name="T111" fmla="*/ 14 h 125"/>
                <a:gd name="T112" fmla="*/ 27 w 165"/>
                <a:gd name="T113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5" h="125">
                  <a:moveTo>
                    <a:pt x="27" y="0"/>
                  </a:moveTo>
                  <a:cubicBezTo>
                    <a:pt x="33" y="1"/>
                    <a:pt x="33" y="1"/>
                    <a:pt x="33" y="1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88" y="35"/>
                    <a:pt x="88" y="35"/>
                    <a:pt x="88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9" y="35"/>
                    <a:pt x="129" y="35"/>
                    <a:pt x="129" y="35"/>
                  </a:cubicBezTo>
                  <a:cubicBezTo>
                    <a:pt x="136" y="38"/>
                    <a:pt x="136" y="38"/>
                    <a:pt x="136" y="38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5" y="58"/>
                    <a:pt x="135" y="58"/>
                    <a:pt x="135" y="58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56" y="54"/>
                    <a:pt x="156" y="54"/>
                    <a:pt x="156" y="54"/>
                  </a:cubicBezTo>
                  <a:cubicBezTo>
                    <a:pt x="158" y="64"/>
                    <a:pt x="158" y="64"/>
                    <a:pt x="158" y="64"/>
                  </a:cubicBezTo>
                  <a:cubicBezTo>
                    <a:pt x="158" y="64"/>
                    <a:pt x="161" y="76"/>
                    <a:pt x="161" y="76"/>
                  </a:cubicBezTo>
                  <a:cubicBezTo>
                    <a:pt x="161" y="77"/>
                    <a:pt x="159" y="88"/>
                    <a:pt x="159" y="88"/>
                  </a:cubicBezTo>
                  <a:cubicBezTo>
                    <a:pt x="165" y="99"/>
                    <a:pt x="165" y="99"/>
                    <a:pt x="165" y="99"/>
                  </a:cubicBezTo>
                  <a:cubicBezTo>
                    <a:pt x="156" y="106"/>
                    <a:pt x="156" y="106"/>
                    <a:pt x="156" y="106"/>
                  </a:cubicBezTo>
                  <a:cubicBezTo>
                    <a:pt x="147" y="106"/>
                    <a:pt x="147" y="106"/>
                    <a:pt x="147" y="106"/>
                  </a:cubicBezTo>
                  <a:cubicBezTo>
                    <a:pt x="142" y="110"/>
                    <a:pt x="142" y="110"/>
                    <a:pt x="142" y="110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28" y="107"/>
                    <a:pt x="128" y="107"/>
                    <a:pt x="128" y="107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03" y="115"/>
                    <a:pt x="103" y="115"/>
                    <a:pt x="103" y="115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86" y="99"/>
                    <a:pt x="86" y="99"/>
                    <a:pt x="86" y="9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56" y="110"/>
                    <a:pt x="56" y="110"/>
                    <a:pt x="56" y="110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33" y="116"/>
                    <a:pt x="33" y="116"/>
                    <a:pt x="33" y="116"/>
                  </a:cubicBezTo>
                  <a:cubicBezTo>
                    <a:pt x="31" y="113"/>
                    <a:pt x="29" y="110"/>
                    <a:pt x="28" y="109"/>
                  </a:cubicBezTo>
                  <a:cubicBezTo>
                    <a:pt x="23" y="105"/>
                    <a:pt x="16" y="94"/>
                    <a:pt x="16" y="91"/>
                  </a:cubicBezTo>
                  <a:cubicBezTo>
                    <a:pt x="16" y="87"/>
                    <a:pt x="18" y="88"/>
                    <a:pt x="21" y="87"/>
                  </a:cubicBezTo>
                  <a:cubicBezTo>
                    <a:pt x="23" y="85"/>
                    <a:pt x="21" y="82"/>
                    <a:pt x="20" y="82"/>
                  </a:cubicBezTo>
                  <a:cubicBezTo>
                    <a:pt x="18" y="82"/>
                    <a:pt x="13" y="83"/>
                    <a:pt x="11" y="84"/>
                  </a:cubicBezTo>
                  <a:cubicBezTo>
                    <a:pt x="9" y="84"/>
                    <a:pt x="6" y="86"/>
                    <a:pt x="3" y="86"/>
                  </a:cubicBezTo>
                  <a:cubicBezTo>
                    <a:pt x="2" y="85"/>
                    <a:pt x="1" y="85"/>
                    <a:pt x="0" y="86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7" y="14"/>
                    <a:pt x="27" y="14"/>
                    <a:pt x="27" y="1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0" name="Freeform 67"/>
            <p:cNvSpPr>
              <a:spLocks/>
            </p:cNvSpPr>
            <p:nvPr/>
          </p:nvSpPr>
          <p:spPr bwMode="auto">
            <a:xfrm>
              <a:off x="2686" y="3855"/>
              <a:ext cx="164" cy="288"/>
            </a:xfrm>
            <a:custGeom>
              <a:avLst/>
              <a:gdLst>
                <a:gd name="T0" fmla="*/ 0 w 79"/>
                <a:gd name="T1" fmla="*/ 22 h 138"/>
                <a:gd name="T2" fmla="*/ 6 w 79"/>
                <a:gd name="T3" fmla="*/ 17 h 138"/>
                <a:gd name="T4" fmla="*/ 19 w 79"/>
                <a:gd name="T5" fmla="*/ 18 h 138"/>
                <a:gd name="T6" fmla="*/ 31 w 79"/>
                <a:gd name="T7" fmla="*/ 9 h 138"/>
                <a:gd name="T8" fmla="*/ 41 w 79"/>
                <a:gd name="T9" fmla="*/ 9 h 138"/>
                <a:gd name="T10" fmla="*/ 43 w 79"/>
                <a:gd name="T11" fmla="*/ 11 h 138"/>
                <a:gd name="T12" fmla="*/ 49 w 79"/>
                <a:gd name="T13" fmla="*/ 6 h 138"/>
                <a:gd name="T14" fmla="*/ 53 w 79"/>
                <a:gd name="T15" fmla="*/ 9 h 138"/>
                <a:gd name="T16" fmla="*/ 65 w 79"/>
                <a:gd name="T17" fmla="*/ 0 h 138"/>
                <a:gd name="T18" fmla="*/ 67 w 79"/>
                <a:gd name="T19" fmla="*/ 0 h 138"/>
                <a:gd name="T20" fmla="*/ 68 w 79"/>
                <a:gd name="T21" fmla="*/ 11 h 138"/>
                <a:gd name="T22" fmla="*/ 75 w 79"/>
                <a:gd name="T23" fmla="*/ 17 h 138"/>
                <a:gd name="T24" fmla="*/ 79 w 79"/>
                <a:gd name="T25" fmla="*/ 23 h 138"/>
                <a:gd name="T26" fmla="*/ 79 w 79"/>
                <a:gd name="T27" fmla="*/ 34 h 138"/>
                <a:gd name="T28" fmla="*/ 65 w 79"/>
                <a:gd name="T29" fmla="*/ 45 h 138"/>
                <a:gd name="T30" fmla="*/ 69 w 79"/>
                <a:gd name="T31" fmla="*/ 57 h 138"/>
                <a:gd name="T32" fmla="*/ 69 w 79"/>
                <a:gd name="T33" fmla="*/ 69 h 138"/>
                <a:gd name="T34" fmla="*/ 62 w 79"/>
                <a:gd name="T35" fmla="*/ 74 h 138"/>
                <a:gd name="T36" fmla="*/ 65 w 79"/>
                <a:gd name="T37" fmla="*/ 76 h 138"/>
                <a:gd name="T38" fmla="*/ 71 w 79"/>
                <a:gd name="T39" fmla="*/ 74 h 138"/>
                <a:gd name="T40" fmla="*/ 79 w 79"/>
                <a:gd name="T41" fmla="*/ 75 h 138"/>
                <a:gd name="T42" fmla="*/ 75 w 79"/>
                <a:gd name="T43" fmla="*/ 80 h 138"/>
                <a:gd name="T44" fmla="*/ 75 w 79"/>
                <a:gd name="T45" fmla="*/ 91 h 138"/>
                <a:gd name="T46" fmla="*/ 68 w 79"/>
                <a:gd name="T47" fmla="*/ 100 h 138"/>
                <a:gd name="T48" fmla="*/ 75 w 79"/>
                <a:gd name="T49" fmla="*/ 107 h 138"/>
                <a:gd name="T50" fmla="*/ 72 w 79"/>
                <a:gd name="T51" fmla="*/ 114 h 138"/>
                <a:gd name="T52" fmla="*/ 77 w 79"/>
                <a:gd name="T53" fmla="*/ 122 h 138"/>
                <a:gd name="T54" fmla="*/ 67 w 79"/>
                <a:gd name="T55" fmla="*/ 130 h 138"/>
                <a:gd name="T56" fmla="*/ 67 w 79"/>
                <a:gd name="T57" fmla="*/ 138 h 138"/>
                <a:gd name="T58" fmla="*/ 62 w 79"/>
                <a:gd name="T59" fmla="*/ 136 h 138"/>
                <a:gd name="T60" fmla="*/ 62 w 79"/>
                <a:gd name="T61" fmla="*/ 131 h 138"/>
                <a:gd name="T62" fmla="*/ 57 w 79"/>
                <a:gd name="T63" fmla="*/ 130 h 138"/>
                <a:gd name="T64" fmla="*/ 50 w 79"/>
                <a:gd name="T65" fmla="*/ 126 h 138"/>
                <a:gd name="T66" fmla="*/ 44 w 79"/>
                <a:gd name="T67" fmla="*/ 127 h 138"/>
                <a:gd name="T68" fmla="*/ 38 w 79"/>
                <a:gd name="T69" fmla="*/ 122 h 138"/>
                <a:gd name="T70" fmla="*/ 36 w 79"/>
                <a:gd name="T71" fmla="*/ 114 h 138"/>
                <a:gd name="T72" fmla="*/ 31 w 79"/>
                <a:gd name="T73" fmla="*/ 104 h 138"/>
                <a:gd name="T74" fmla="*/ 38 w 79"/>
                <a:gd name="T75" fmla="*/ 103 h 138"/>
                <a:gd name="T76" fmla="*/ 40 w 79"/>
                <a:gd name="T77" fmla="*/ 98 h 138"/>
                <a:gd name="T78" fmla="*/ 27 w 79"/>
                <a:gd name="T79" fmla="*/ 94 h 138"/>
                <a:gd name="T80" fmla="*/ 23 w 79"/>
                <a:gd name="T81" fmla="*/ 85 h 138"/>
                <a:gd name="T82" fmla="*/ 20 w 79"/>
                <a:gd name="T83" fmla="*/ 77 h 138"/>
                <a:gd name="T84" fmla="*/ 12 w 79"/>
                <a:gd name="T85" fmla="*/ 75 h 138"/>
                <a:gd name="T86" fmla="*/ 9 w 79"/>
                <a:gd name="T87" fmla="*/ 67 h 138"/>
                <a:gd name="T88" fmla="*/ 3 w 79"/>
                <a:gd name="T89" fmla="*/ 56 h 138"/>
                <a:gd name="T90" fmla="*/ 5 w 79"/>
                <a:gd name="T91" fmla="*/ 44 h 138"/>
                <a:gd name="T92" fmla="*/ 2 w 79"/>
                <a:gd name="T93" fmla="*/ 32 h 138"/>
                <a:gd name="T94" fmla="*/ 0 w 79"/>
                <a:gd name="T95" fmla="*/ 22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9" h="138">
                  <a:moveTo>
                    <a:pt x="0" y="22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79" y="75"/>
                    <a:pt x="79" y="75"/>
                    <a:pt x="79" y="75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5" y="91"/>
                    <a:pt x="75" y="91"/>
                    <a:pt x="75" y="91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7" y="122"/>
                    <a:pt x="77" y="122"/>
                    <a:pt x="77" y="122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7" y="138"/>
                    <a:pt x="67" y="138"/>
                    <a:pt x="67" y="138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1"/>
                    <a:pt x="62" y="131"/>
                    <a:pt x="62" y="131"/>
                  </a:cubicBezTo>
                  <a:cubicBezTo>
                    <a:pt x="57" y="130"/>
                    <a:pt x="57" y="130"/>
                    <a:pt x="57" y="130"/>
                  </a:cubicBezTo>
                  <a:cubicBezTo>
                    <a:pt x="50" y="126"/>
                    <a:pt x="50" y="126"/>
                    <a:pt x="50" y="126"/>
                  </a:cubicBezTo>
                  <a:cubicBezTo>
                    <a:pt x="44" y="127"/>
                    <a:pt x="44" y="127"/>
                    <a:pt x="44" y="127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6" y="114"/>
                    <a:pt x="36" y="114"/>
                    <a:pt x="36" y="114"/>
                  </a:cubicBezTo>
                  <a:cubicBezTo>
                    <a:pt x="31" y="104"/>
                    <a:pt x="31" y="104"/>
                    <a:pt x="31" y="104"/>
                  </a:cubicBezTo>
                  <a:cubicBezTo>
                    <a:pt x="38" y="103"/>
                    <a:pt x="38" y="103"/>
                    <a:pt x="38" y="103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27" y="94"/>
                    <a:pt x="27" y="94"/>
                    <a:pt x="27" y="94"/>
                  </a:cubicBezTo>
                  <a:cubicBezTo>
                    <a:pt x="23" y="85"/>
                    <a:pt x="23" y="85"/>
                    <a:pt x="23" y="85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3" y="56"/>
                    <a:pt x="5" y="45"/>
                    <a:pt x="5" y="44"/>
                  </a:cubicBezTo>
                  <a:cubicBezTo>
                    <a:pt x="5" y="44"/>
                    <a:pt x="2" y="32"/>
                    <a:pt x="2" y="32"/>
                  </a:cubicBezTo>
                  <a:lnTo>
                    <a:pt x="0" y="22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1" name="Freeform 68"/>
            <p:cNvSpPr>
              <a:spLocks noEditPoints="1"/>
            </p:cNvSpPr>
            <p:nvPr/>
          </p:nvSpPr>
          <p:spPr bwMode="auto">
            <a:xfrm>
              <a:off x="3236" y="2286"/>
              <a:ext cx="1104" cy="1363"/>
            </a:xfrm>
            <a:custGeom>
              <a:avLst/>
              <a:gdLst>
                <a:gd name="T0" fmla="*/ 30 w 530"/>
                <a:gd name="T1" fmla="*/ 215 h 654"/>
                <a:gd name="T2" fmla="*/ 118 w 530"/>
                <a:gd name="T3" fmla="*/ 199 h 654"/>
                <a:gd name="T4" fmla="*/ 163 w 530"/>
                <a:gd name="T5" fmla="*/ 171 h 654"/>
                <a:gd name="T6" fmla="*/ 171 w 530"/>
                <a:gd name="T7" fmla="*/ 197 h 654"/>
                <a:gd name="T8" fmla="*/ 222 w 530"/>
                <a:gd name="T9" fmla="*/ 187 h 654"/>
                <a:gd name="T10" fmla="*/ 272 w 530"/>
                <a:gd name="T11" fmla="*/ 151 h 654"/>
                <a:gd name="T12" fmla="*/ 251 w 530"/>
                <a:gd name="T13" fmla="*/ 113 h 654"/>
                <a:gd name="T14" fmla="*/ 302 w 530"/>
                <a:gd name="T15" fmla="*/ 92 h 654"/>
                <a:gd name="T16" fmla="*/ 336 w 530"/>
                <a:gd name="T17" fmla="*/ 79 h 654"/>
                <a:gd name="T18" fmla="*/ 407 w 530"/>
                <a:gd name="T19" fmla="*/ 23 h 654"/>
                <a:gd name="T20" fmla="*/ 465 w 530"/>
                <a:gd name="T21" fmla="*/ 20 h 654"/>
                <a:gd name="T22" fmla="*/ 490 w 530"/>
                <a:gd name="T23" fmla="*/ 46 h 654"/>
                <a:gd name="T24" fmla="*/ 490 w 530"/>
                <a:gd name="T25" fmla="*/ 91 h 654"/>
                <a:gd name="T26" fmla="*/ 529 w 530"/>
                <a:gd name="T27" fmla="*/ 123 h 654"/>
                <a:gd name="T28" fmla="*/ 504 w 530"/>
                <a:gd name="T29" fmla="*/ 149 h 654"/>
                <a:gd name="T30" fmla="*/ 527 w 530"/>
                <a:gd name="T31" fmla="*/ 199 h 654"/>
                <a:gd name="T32" fmla="*/ 501 w 530"/>
                <a:gd name="T33" fmla="*/ 229 h 654"/>
                <a:gd name="T34" fmla="*/ 486 w 530"/>
                <a:gd name="T35" fmla="*/ 256 h 654"/>
                <a:gd name="T36" fmla="*/ 509 w 530"/>
                <a:gd name="T37" fmla="*/ 307 h 654"/>
                <a:gd name="T38" fmla="*/ 492 w 530"/>
                <a:gd name="T39" fmla="*/ 341 h 654"/>
                <a:gd name="T40" fmla="*/ 462 w 530"/>
                <a:gd name="T41" fmla="*/ 358 h 654"/>
                <a:gd name="T42" fmla="*/ 473 w 530"/>
                <a:gd name="T43" fmla="*/ 414 h 654"/>
                <a:gd name="T44" fmla="*/ 469 w 530"/>
                <a:gd name="T45" fmla="*/ 461 h 654"/>
                <a:gd name="T46" fmla="*/ 445 w 530"/>
                <a:gd name="T47" fmla="*/ 483 h 654"/>
                <a:gd name="T48" fmla="*/ 436 w 530"/>
                <a:gd name="T49" fmla="*/ 515 h 654"/>
                <a:gd name="T50" fmla="*/ 445 w 530"/>
                <a:gd name="T51" fmla="*/ 547 h 654"/>
                <a:gd name="T52" fmla="*/ 462 w 530"/>
                <a:gd name="T53" fmla="*/ 572 h 654"/>
                <a:gd name="T54" fmla="*/ 462 w 530"/>
                <a:gd name="T55" fmla="*/ 598 h 654"/>
                <a:gd name="T56" fmla="*/ 421 w 530"/>
                <a:gd name="T57" fmla="*/ 630 h 654"/>
                <a:gd name="T58" fmla="*/ 382 w 530"/>
                <a:gd name="T59" fmla="*/ 643 h 654"/>
                <a:gd name="T60" fmla="*/ 334 w 530"/>
                <a:gd name="T61" fmla="*/ 645 h 654"/>
                <a:gd name="T62" fmla="*/ 290 w 530"/>
                <a:gd name="T63" fmla="*/ 654 h 654"/>
                <a:gd name="T64" fmla="*/ 267 w 530"/>
                <a:gd name="T65" fmla="*/ 628 h 654"/>
                <a:gd name="T66" fmla="*/ 248 w 530"/>
                <a:gd name="T67" fmla="*/ 597 h 654"/>
                <a:gd name="T68" fmla="*/ 219 w 530"/>
                <a:gd name="T69" fmla="*/ 586 h 654"/>
                <a:gd name="T70" fmla="*/ 178 w 530"/>
                <a:gd name="T71" fmla="*/ 595 h 654"/>
                <a:gd name="T72" fmla="*/ 164 w 530"/>
                <a:gd name="T73" fmla="*/ 641 h 654"/>
                <a:gd name="T74" fmla="*/ 136 w 530"/>
                <a:gd name="T75" fmla="*/ 637 h 654"/>
                <a:gd name="T76" fmla="*/ 114 w 530"/>
                <a:gd name="T77" fmla="*/ 589 h 654"/>
                <a:gd name="T78" fmla="*/ 100 w 530"/>
                <a:gd name="T79" fmla="*/ 563 h 654"/>
                <a:gd name="T80" fmla="*/ 81 w 530"/>
                <a:gd name="T81" fmla="*/ 530 h 654"/>
                <a:gd name="T82" fmla="*/ 64 w 530"/>
                <a:gd name="T83" fmla="*/ 504 h 654"/>
                <a:gd name="T84" fmla="*/ 34 w 530"/>
                <a:gd name="T85" fmla="*/ 508 h 654"/>
                <a:gd name="T86" fmla="*/ 25 w 530"/>
                <a:gd name="T87" fmla="*/ 467 h 654"/>
                <a:gd name="T88" fmla="*/ 17 w 530"/>
                <a:gd name="T89" fmla="*/ 437 h 654"/>
                <a:gd name="T90" fmla="*/ 11 w 530"/>
                <a:gd name="T91" fmla="*/ 385 h 654"/>
                <a:gd name="T92" fmla="*/ 21 w 530"/>
                <a:gd name="T93" fmla="*/ 344 h 654"/>
                <a:gd name="T94" fmla="*/ 31 w 530"/>
                <a:gd name="T95" fmla="*/ 311 h 654"/>
                <a:gd name="T96" fmla="*/ 37 w 530"/>
                <a:gd name="T97" fmla="*/ 280 h 654"/>
                <a:gd name="T98" fmla="*/ 14 w 530"/>
                <a:gd name="T99" fmla="*/ 240 h 654"/>
                <a:gd name="T100" fmla="*/ 234 w 530"/>
                <a:gd name="T101" fmla="*/ 26 h 654"/>
                <a:gd name="T102" fmla="*/ 251 w 530"/>
                <a:gd name="T103" fmla="*/ 6 h 654"/>
                <a:gd name="T104" fmla="*/ 223 w 530"/>
                <a:gd name="T105" fmla="*/ 53 h 654"/>
                <a:gd name="T106" fmla="*/ 203 w 530"/>
                <a:gd name="T107" fmla="*/ 27 h 654"/>
                <a:gd name="T108" fmla="*/ 169 w 530"/>
                <a:gd name="T109" fmla="*/ 47 h 654"/>
                <a:gd name="T110" fmla="*/ 217 w 530"/>
                <a:gd name="T111" fmla="*/ 54 h 654"/>
                <a:gd name="T112" fmla="*/ 235 w 530"/>
                <a:gd name="T113" fmla="*/ 98 h 654"/>
                <a:gd name="T114" fmla="*/ 234 w 530"/>
                <a:gd name="T115" fmla="*/ 90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0" h="654">
                  <a:moveTo>
                    <a:pt x="4" y="211"/>
                  </a:moveTo>
                  <a:cubicBezTo>
                    <a:pt x="4" y="211"/>
                    <a:pt x="4" y="211"/>
                    <a:pt x="4" y="211"/>
                  </a:cubicBezTo>
                  <a:cubicBezTo>
                    <a:pt x="7" y="209"/>
                    <a:pt x="10" y="207"/>
                    <a:pt x="11" y="211"/>
                  </a:cubicBezTo>
                  <a:cubicBezTo>
                    <a:pt x="12" y="215"/>
                    <a:pt x="16" y="217"/>
                    <a:pt x="19" y="214"/>
                  </a:cubicBezTo>
                  <a:cubicBezTo>
                    <a:pt x="22" y="211"/>
                    <a:pt x="22" y="206"/>
                    <a:pt x="25" y="207"/>
                  </a:cubicBezTo>
                  <a:cubicBezTo>
                    <a:pt x="28" y="209"/>
                    <a:pt x="29" y="215"/>
                    <a:pt x="30" y="215"/>
                  </a:cubicBezTo>
                  <a:cubicBezTo>
                    <a:pt x="32" y="215"/>
                    <a:pt x="38" y="212"/>
                    <a:pt x="41" y="209"/>
                  </a:cubicBezTo>
                  <a:cubicBezTo>
                    <a:pt x="43" y="206"/>
                    <a:pt x="52" y="204"/>
                    <a:pt x="61" y="203"/>
                  </a:cubicBezTo>
                  <a:cubicBezTo>
                    <a:pt x="70" y="201"/>
                    <a:pt x="74" y="197"/>
                    <a:pt x="74" y="201"/>
                  </a:cubicBezTo>
                  <a:cubicBezTo>
                    <a:pt x="74" y="205"/>
                    <a:pt x="75" y="207"/>
                    <a:pt x="81" y="210"/>
                  </a:cubicBezTo>
                  <a:cubicBezTo>
                    <a:pt x="87" y="212"/>
                    <a:pt x="99" y="207"/>
                    <a:pt x="103" y="204"/>
                  </a:cubicBezTo>
                  <a:cubicBezTo>
                    <a:pt x="107" y="201"/>
                    <a:pt x="116" y="202"/>
                    <a:pt x="118" y="199"/>
                  </a:cubicBezTo>
                  <a:cubicBezTo>
                    <a:pt x="119" y="195"/>
                    <a:pt x="117" y="191"/>
                    <a:pt x="114" y="189"/>
                  </a:cubicBezTo>
                  <a:cubicBezTo>
                    <a:pt x="111" y="187"/>
                    <a:pt x="108" y="182"/>
                    <a:pt x="110" y="178"/>
                  </a:cubicBezTo>
                  <a:cubicBezTo>
                    <a:pt x="111" y="174"/>
                    <a:pt x="116" y="169"/>
                    <a:pt x="120" y="172"/>
                  </a:cubicBezTo>
                  <a:cubicBezTo>
                    <a:pt x="124" y="174"/>
                    <a:pt x="132" y="174"/>
                    <a:pt x="135" y="171"/>
                  </a:cubicBezTo>
                  <a:cubicBezTo>
                    <a:pt x="138" y="169"/>
                    <a:pt x="144" y="165"/>
                    <a:pt x="148" y="166"/>
                  </a:cubicBezTo>
                  <a:cubicBezTo>
                    <a:pt x="151" y="167"/>
                    <a:pt x="162" y="168"/>
                    <a:pt x="163" y="171"/>
                  </a:cubicBezTo>
                  <a:cubicBezTo>
                    <a:pt x="164" y="174"/>
                    <a:pt x="165" y="176"/>
                    <a:pt x="164" y="177"/>
                  </a:cubicBezTo>
                  <a:cubicBezTo>
                    <a:pt x="162" y="179"/>
                    <a:pt x="170" y="178"/>
                    <a:pt x="171" y="178"/>
                  </a:cubicBezTo>
                  <a:cubicBezTo>
                    <a:pt x="172" y="179"/>
                    <a:pt x="168" y="185"/>
                    <a:pt x="165" y="187"/>
                  </a:cubicBezTo>
                  <a:cubicBezTo>
                    <a:pt x="163" y="188"/>
                    <a:pt x="172" y="183"/>
                    <a:pt x="176" y="186"/>
                  </a:cubicBezTo>
                  <a:cubicBezTo>
                    <a:pt x="180" y="190"/>
                    <a:pt x="183" y="190"/>
                    <a:pt x="181" y="193"/>
                  </a:cubicBezTo>
                  <a:cubicBezTo>
                    <a:pt x="179" y="195"/>
                    <a:pt x="173" y="195"/>
                    <a:pt x="171" y="197"/>
                  </a:cubicBezTo>
                  <a:cubicBezTo>
                    <a:pt x="170" y="198"/>
                    <a:pt x="175" y="198"/>
                    <a:pt x="182" y="203"/>
                  </a:cubicBezTo>
                  <a:cubicBezTo>
                    <a:pt x="189" y="208"/>
                    <a:pt x="201" y="217"/>
                    <a:pt x="203" y="218"/>
                  </a:cubicBezTo>
                  <a:cubicBezTo>
                    <a:pt x="205" y="219"/>
                    <a:pt x="219" y="223"/>
                    <a:pt x="218" y="216"/>
                  </a:cubicBezTo>
                  <a:cubicBezTo>
                    <a:pt x="218" y="210"/>
                    <a:pt x="215" y="202"/>
                    <a:pt x="212" y="196"/>
                  </a:cubicBezTo>
                  <a:cubicBezTo>
                    <a:pt x="209" y="191"/>
                    <a:pt x="208" y="183"/>
                    <a:pt x="210" y="183"/>
                  </a:cubicBezTo>
                  <a:cubicBezTo>
                    <a:pt x="212" y="182"/>
                    <a:pt x="218" y="186"/>
                    <a:pt x="222" y="187"/>
                  </a:cubicBezTo>
                  <a:cubicBezTo>
                    <a:pt x="226" y="189"/>
                    <a:pt x="236" y="186"/>
                    <a:pt x="236" y="184"/>
                  </a:cubicBezTo>
                  <a:cubicBezTo>
                    <a:pt x="237" y="182"/>
                    <a:pt x="236" y="174"/>
                    <a:pt x="243" y="171"/>
                  </a:cubicBezTo>
                  <a:cubicBezTo>
                    <a:pt x="249" y="167"/>
                    <a:pt x="251" y="166"/>
                    <a:pt x="257" y="168"/>
                  </a:cubicBezTo>
                  <a:cubicBezTo>
                    <a:pt x="263" y="170"/>
                    <a:pt x="265" y="164"/>
                    <a:pt x="261" y="163"/>
                  </a:cubicBezTo>
                  <a:cubicBezTo>
                    <a:pt x="258" y="162"/>
                    <a:pt x="258" y="159"/>
                    <a:pt x="261" y="156"/>
                  </a:cubicBezTo>
                  <a:cubicBezTo>
                    <a:pt x="265" y="154"/>
                    <a:pt x="273" y="154"/>
                    <a:pt x="272" y="151"/>
                  </a:cubicBezTo>
                  <a:cubicBezTo>
                    <a:pt x="271" y="148"/>
                    <a:pt x="262" y="142"/>
                    <a:pt x="261" y="139"/>
                  </a:cubicBezTo>
                  <a:cubicBezTo>
                    <a:pt x="261" y="136"/>
                    <a:pt x="262" y="131"/>
                    <a:pt x="260" y="132"/>
                  </a:cubicBezTo>
                  <a:cubicBezTo>
                    <a:pt x="258" y="134"/>
                    <a:pt x="255" y="139"/>
                    <a:pt x="252" y="134"/>
                  </a:cubicBezTo>
                  <a:cubicBezTo>
                    <a:pt x="248" y="129"/>
                    <a:pt x="252" y="127"/>
                    <a:pt x="255" y="126"/>
                  </a:cubicBezTo>
                  <a:cubicBezTo>
                    <a:pt x="259" y="125"/>
                    <a:pt x="259" y="120"/>
                    <a:pt x="258" y="118"/>
                  </a:cubicBezTo>
                  <a:cubicBezTo>
                    <a:pt x="257" y="117"/>
                    <a:pt x="250" y="114"/>
                    <a:pt x="251" y="113"/>
                  </a:cubicBezTo>
                  <a:cubicBezTo>
                    <a:pt x="252" y="112"/>
                    <a:pt x="253" y="109"/>
                    <a:pt x="257" y="109"/>
                  </a:cubicBezTo>
                  <a:cubicBezTo>
                    <a:pt x="260" y="110"/>
                    <a:pt x="267" y="105"/>
                    <a:pt x="271" y="102"/>
                  </a:cubicBezTo>
                  <a:cubicBezTo>
                    <a:pt x="275" y="98"/>
                    <a:pt x="281" y="96"/>
                    <a:pt x="286" y="92"/>
                  </a:cubicBezTo>
                  <a:cubicBezTo>
                    <a:pt x="290" y="89"/>
                    <a:pt x="298" y="83"/>
                    <a:pt x="299" y="86"/>
                  </a:cubicBezTo>
                  <a:cubicBezTo>
                    <a:pt x="301" y="88"/>
                    <a:pt x="295" y="92"/>
                    <a:pt x="294" y="95"/>
                  </a:cubicBezTo>
                  <a:cubicBezTo>
                    <a:pt x="293" y="98"/>
                    <a:pt x="300" y="94"/>
                    <a:pt x="302" y="92"/>
                  </a:cubicBezTo>
                  <a:cubicBezTo>
                    <a:pt x="304" y="90"/>
                    <a:pt x="305" y="95"/>
                    <a:pt x="306" y="97"/>
                  </a:cubicBezTo>
                  <a:cubicBezTo>
                    <a:pt x="307" y="99"/>
                    <a:pt x="310" y="95"/>
                    <a:pt x="307" y="90"/>
                  </a:cubicBezTo>
                  <a:cubicBezTo>
                    <a:pt x="304" y="85"/>
                    <a:pt x="305" y="82"/>
                    <a:pt x="308" y="78"/>
                  </a:cubicBezTo>
                  <a:cubicBezTo>
                    <a:pt x="312" y="75"/>
                    <a:pt x="319" y="71"/>
                    <a:pt x="325" y="69"/>
                  </a:cubicBezTo>
                  <a:cubicBezTo>
                    <a:pt x="331" y="67"/>
                    <a:pt x="336" y="69"/>
                    <a:pt x="335" y="72"/>
                  </a:cubicBezTo>
                  <a:cubicBezTo>
                    <a:pt x="333" y="75"/>
                    <a:pt x="331" y="81"/>
                    <a:pt x="336" y="79"/>
                  </a:cubicBezTo>
                  <a:cubicBezTo>
                    <a:pt x="341" y="78"/>
                    <a:pt x="345" y="74"/>
                    <a:pt x="347" y="76"/>
                  </a:cubicBezTo>
                  <a:cubicBezTo>
                    <a:pt x="349" y="78"/>
                    <a:pt x="353" y="78"/>
                    <a:pt x="356" y="74"/>
                  </a:cubicBezTo>
                  <a:cubicBezTo>
                    <a:pt x="359" y="70"/>
                    <a:pt x="366" y="69"/>
                    <a:pt x="368" y="72"/>
                  </a:cubicBezTo>
                  <a:cubicBezTo>
                    <a:pt x="370" y="75"/>
                    <a:pt x="381" y="71"/>
                    <a:pt x="383" y="64"/>
                  </a:cubicBezTo>
                  <a:cubicBezTo>
                    <a:pt x="385" y="56"/>
                    <a:pt x="385" y="49"/>
                    <a:pt x="391" y="43"/>
                  </a:cubicBezTo>
                  <a:cubicBezTo>
                    <a:pt x="396" y="37"/>
                    <a:pt x="399" y="30"/>
                    <a:pt x="407" y="23"/>
                  </a:cubicBezTo>
                  <a:cubicBezTo>
                    <a:pt x="415" y="15"/>
                    <a:pt x="428" y="16"/>
                    <a:pt x="434" y="19"/>
                  </a:cubicBezTo>
                  <a:cubicBezTo>
                    <a:pt x="440" y="22"/>
                    <a:pt x="438" y="25"/>
                    <a:pt x="443" y="29"/>
                  </a:cubicBezTo>
                  <a:cubicBezTo>
                    <a:pt x="447" y="32"/>
                    <a:pt x="452" y="26"/>
                    <a:pt x="453" y="23"/>
                  </a:cubicBezTo>
                  <a:cubicBezTo>
                    <a:pt x="455" y="20"/>
                    <a:pt x="460" y="24"/>
                    <a:pt x="464" y="27"/>
                  </a:cubicBezTo>
                  <a:cubicBezTo>
                    <a:pt x="468" y="31"/>
                    <a:pt x="474" y="32"/>
                    <a:pt x="474" y="30"/>
                  </a:cubicBezTo>
                  <a:cubicBezTo>
                    <a:pt x="474" y="28"/>
                    <a:pt x="468" y="26"/>
                    <a:pt x="465" y="20"/>
                  </a:cubicBezTo>
                  <a:cubicBezTo>
                    <a:pt x="462" y="15"/>
                    <a:pt x="462" y="14"/>
                    <a:pt x="464" y="9"/>
                  </a:cubicBezTo>
                  <a:cubicBezTo>
                    <a:pt x="476" y="16"/>
                    <a:pt x="476" y="16"/>
                    <a:pt x="476" y="16"/>
                  </a:cubicBezTo>
                  <a:cubicBezTo>
                    <a:pt x="489" y="23"/>
                    <a:pt x="489" y="23"/>
                    <a:pt x="489" y="23"/>
                  </a:cubicBezTo>
                  <a:cubicBezTo>
                    <a:pt x="494" y="27"/>
                    <a:pt x="494" y="27"/>
                    <a:pt x="494" y="27"/>
                  </a:cubicBezTo>
                  <a:cubicBezTo>
                    <a:pt x="501" y="36"/>
                    <a:pt x="501" y="36"/>
                    <a:pt x="501" y="36"/>
                  </a:cubicBezTo>
                  <a:cubicBezTo>
                    <a:pt x="490" y="46"/>
                    <a:pt x="490" y="46"/>
                    <a:pt x="490" y="46"/>
                  </a:cubicBezTo>
                  <a:cubicBezTo>
                    <a:pt x="490" y="53"/>
                    <a:pt x="490" y="53"/>
                    <a:pt x="490" y="53"/>
                  </a:cubicBezTo>
                  <a:cubicBezTo>
                    <a:pt x="486" y="62"/>
                    <a:pt x="486" y="62"/>
                    <a:pt x="486" y="62"/>
                  </a:cubicBezTo>
                  <a:cubicBezTo>
                    <a:pt x="484" y="67"/>
                    <a:pt x="484" y="67"/>
                    <a:pt x="484" y="67"/>
                  </a:cubicBezTo>
                  <a:cubicBezTo>
                    <a:pt x="483" y="75"/>
                    <a:pt x="483" y="75"/>
                    <a:pt x="483" y="75"/>
                  </a:cubicBezTo>
                  <a:cubicBezTo>
                    <a:pt x="490" y="83"/>
                    <a:pt x="490" y="83"/>
                    <a:pt x="490" y="83"/>
                  </a:cubicBezTo>
                  <a:cubicBezTo>
                    <a:pt x="490" y="91"/>
                    <a:pt x="490" y="91"/>
                    <a:pt x="490" y="91"/>
                  </a:cubicBezTo>
                  <a:cubicBezTo>
                    <a:pt x="503" y="91"/>
                    <a:pt x="503" y="91"/>
                    <a:pt x="503" y="91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23" y="99"/>
                    <a:pt x="523" y="99"/>
                    <a:pt x="523" y="99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30" y="116"/>
                    <a:pt x="530" y="116"/>
                    <a:pt x="530" y="116"/>
                  </a:cubicBezTo>
                  <a:cubicBezTo>
                    <a:pt x="529" y="123"/>
                    <a:pt x="529" y="123"/>
                    <a:pt x="529" y="123"/>
                  </a:cubicBezTo>
                  <a:cubicBezTo>
                    <a:pt x="517" y="123"/>
                    <a:pt x="517" y="123"/>
                    <a:pt x="517" y="123"/>
                  </a:cubicBezTo>
                  <a:cubicBezTo>
                    <a:pt x="517" y="131"/>
                    <a:pt x="517" y="131"/>
                    <a:pt x="517" y="131"/>
                  </a:cubicBezTo>
                  <a:cubicBezTo>
                    <a:pt x="509" y="131"/>
                    <a:pt x="509" y="131"/>
                    <a:pt x="509" y="131"/>
                  </a:cubicBezTo>
                  <a:cubicBezTo>
                    <a:pt x="508" y="141"/>
                    <a:pt x="508" y="141"/>
                    <a:pt x="508" y="141"/>
                  </a:cubicBezTo>
                  <a:cubicBezTo>
                    <a:pt x="502" y="144"/>
                    <a:pt x="502" y="144"/>
                    <a:pt x="502" y="144"/>
                  </a:cubicBezTo>
                  <a:cubicBezTo>
                    <a:pt x="504" y="149"/>
                    <a:pt x="504" y="149"/>
                    <a:pt x="504" y="149"/>
                  </a:cubicBezTo>
                  <a:cubicBezTo>
                    <a:pt x="512" y="153"/>
                    <a:pt x="512" y="153"/>
                    <a:pt x="512" y="153"/>
                  </a:cubicBezTo>
                  <a:cubicBezTo>
                    <a:pt x="504" y="159"/>
                    <a:pt x="504" y="159"/>
                    <a:pt x="504" y="159"/>
                  </a:cubicBezTo>
                  <a:cubicBezTo>
                    <a:pt x="514" y="168"/>
                    <a:pt x="514" y="168"/>
                    <a:pt x="514" y="168"/>
                  </a:cubicBezTo>
                  <a:cubicBezTo>
                    <a:pt x="513" y="181"/>
                    <a:pt x="513" y="181"/>
                    <a:pt x="513" y="181"/>
                  </a:cubicBezTo>
                  <a:cubicBezTo>
                    <a:pt x="525" y="191"/>
                    <a:pt x="525" y="191"/>
                    <a:pt x="525" y="191"/>
                  </a:cubicBezTo>
                  <a:cubicBezTo>
                    <a:pt x="527" y="199"/>
                    <a:pt x="527" y="199"/>
                    <a:pt x="527" y="199"/>
                  </a:cubicBezTo>
                  <a:cubicBezTo>
                    <a:pt x="521" y="202"/>
                    <a:pt x="521" y="202"/>
                    <a:pt x="521" y="202"/>
                  </a:cubicBezTo>
                  <a:cubicBezTo>
                    <a:pt x="518" y="211"/>
                    <a:pt x="518" y="211"/>
                    <a:pt x="518" y="211"/>
                  </a:cubicBezTo>
                  <a:cubicBezTo>
                    <a:pt x="516" y="222"/>
                    <a:pt x="516" y="222"/>
                    <a:pt x="516" y="222"/>
                  </a:cubicBezTo>
                  <a:cubicBezTo>
                    <a:pt x="509" y="222"/>
                    <a:pt x="509" y="222"/>
                    <a:pt x="509" y="222"/>
                  </a:cubicBezTo>
                  <a:cubicBezTo>
                    <a:pt x="502" y="221"/>
                    <a:pt x="502" y="221"/>
                    <a:pt x="502" y="221"/>
                  </a:cubicBezTo>
                  <a:cubicBezTo>
                    <a:pt x="501" y="229"/>
                    <a:pt x="501" y="229"/>
                    <a:pt x="501" y="229"/>
                  </a:cubicBezTo>
                  <a:cubicBezTo>
                    <a:pt x="494" y="234"/>
                    <a:pt x="494" y="234"/>
                    <a:pt x="494" y="234"/>
                  </a:cubicBezTo>
                  <a:cubicBezTo>
                    <a:pt x="488" y="239"/>
                    <a:pt x="488" y="239"/>
                    <a:pt x="488" y="239"/>
                  </a:cubicBezTo>
                  <a:cubicBezTo>
                    <a:pt x="501" y="245"/>
                    <a:pt x="501" y="245"/>
                    <a:pt x="501" y="245"/>
                  </a:cubicBezTo>
                  <a:cubicBezTo>
                    <a:pt x="497" y="251"/>
                    <a:pt x="497" y="251"/>
                    <a:pt x="497" y="251"/>
                  </a:cubicBezTo>
                  <a:cubicBezTo>
                    <a:pt x="494" y="252"/>
                    <a:pt x="494" y="252"/>
                    <a:pt x="494" y="252"/>
                  </a:cubicBezTo>
                  <a:cubicBezTo>
                    <a:pt x="486" y="256"/>
                    <a:pt x="486" y="256"/>
                    <a:pt x="486" y="256"/>
                  </a:cubicBezTo>
                  <a:cubicBezTo>
                    <a:pt x="479" y="263"/>
                    <a:pt x="479" y="263"/>
                    <a:pt x="479" y="263"/>
                  </a:cubicBezTo>
                  <a:cubicBezTo>
                    <a:pt x="483" y="269"/>
                    <a:pt x="483" y="269"/>
                    <a:pt x="483" y="269"/>
                  </a:cubicBezTo>
                  <a:cubicBezTo>
                    <a:pt x="484" y="277"/>
                    <a:pt x="484" y="277"/>
                    <a:pt x="484" y="277"/>
                  </a:cubicBezTo>
                  <a:cubicBezTo>
                    <a:pt x="489" y="288"/>
                    <a:pt x="489" y="288"/>
                    <a:pt x="489" y="288"/>
                  </a:cubicBezTo>
                  <a:cubicBezTo>
                    <a:pt x="500" y="300"/>
                    <a:pt x="500" y="300"/>
                    <a:pt x="500" y="300"/>
                  </a:cubicBezTo>
                  <a:cubicBezTo>
                    <a:pt x="509" y="307"/>
                    <a:pt x="509" y="307"/>
                    <a:pt x="509" y="307"/>
                  </a:cubicBezTo>
                  <a:cubicBezTo>
                    <a:pt x="511" y="318"/>
                    <a:pt x="511" y="318"/>
                    <a:pt x="511" y="318"/>
                  </a:cubicBezTo>
                  <a:cubicBezTo>
                    <a:pt x="509" y="318"/>
                    <a:pt x="509" y="318"/>
                    <a:pt x="509" y="318"/>
                  </a:cubicBezTo>
                  <a:cubicBezTo>
                    <a:pt x="512" y="336"/>
                    <a:pt x="512" y="336"/>
                    <a:pt x="512" y="336"/>
                  </a:cubicBezTo>
                  <a:cubicBezTo>
                    <a:pt x="504" y="332"/>
                    <a:pt x="504" y="332"/>
                    <a:pt x="504" y="332"/>
                  </a:cubicBezTo>
                  <a:cubicBezTo>
                    <a:pt x="499" y="333"/>
                    <a:pt x="499" y="333"/>
                    <a:pt x="499" y="333"/>
                  </a:cubicBezTo>
                  <a:cubicBezTo>
                    <a:pt x="492" y="341"/>
                    <a:pt x="492" y="341"/>
                    <a:pt x="492" y="341"/>
                  </a:cubicBezTo>
                  <a:cubicBezTo>
                    <a:pt x="484" y="348"/>
                    <a:pt x="484" y="348"/>
                    <a:pt x="484" y="348"/>
                  </a:cubicBezTo>
                  <a:cubicBezTo>
                    <a:pt x="478" y="350"/>
                    <a:pt x="478" y="350"/>
                    <a:pt x="478" y="350"/>
                  </a:cubicBezTo>
                  <a:cubicBezTo>
                    <a:pt x="467" y="345"/>
                    <a:pt x="467" y="345"/>
                    <a:pt x="467" y="345"/>
                  </a:cubicBezTo>
                  <a:cubicBezTo>
                    <a:pt x="459" y="345"/>
                    <a:pt x="459" y="345"/>
                    <a:pt x="459" y="345"/>
                  </a:cubicBezTo>
                  <a:cubicBezTo>
                    <a:pt x="457" y="353"/>
                    <a:pt x="457" y="353"/>
                    <a:pt x="457" y="353"/>
                  </a:cubicBezTo>
                  <a:cubicBezTo>
                    <a:pt x="462" y="358"/>
                    <a:pt x="462" y="358"/>
                    <a:pt x="462" y="358"/>
                  </a:cubicBezTo>
                  <a:cubicBezTo>
                    <a:pt x="465" y="366"/>
                    <a:pt x="465" y="366"/>
                    <a:pt x="465" y="366"/>
                  </a:cubicBezTo>
                  <a:cubicBezTo>
                    <a:pt x="467" y="384"/>
                    <a:pt x="467" y="384"/>
                    <a:pt x="467" y="384"/>
                  </a:cubicBezTo>
                  <a:cubicBezTo>
                    <a:pt x="460" y="391"/>
                    <a:pt x="460" y="391"/>
                    <a:pt x="460" y="391"/>
                  </a:cubicBezTo>
                  <a:cubicBezTo>
                    <a:pt x="463" y="397"/>
                    <a:pt x="463" y="397"/>
                    <a:pt x="463" y="397"/>
                  </a:cubicBezTo>
                  <a:cubicBezTo>
                    <a:pt x="463" y="411"/>
                    <a:pt x="463" y="411"/>
                    <a:pt x="463" y="411"/>
                  </a:cubicBezTo>
                  <a:cubicBezTo>
                    <a:pt x="473" y="414"/>
                    <a:pt x="473" y="414"/>
                    <a:pt x="473" y="414"/>
                  </a:cubicBezTo>
                  <a:cubicBezTo>
                    <a:pt x="479" y="423"/>
                    <a:pt x="479" y="423"/>
                    <a:pt x="479" y="423"/>
                  </a:cubicBezTo>
                  <a:cubicBezTo>
                    <a:pt x="486" y="432"/>
                    <a:pt x="486" y="432"/>
                    <a:pt x="486" y="432"/>
                  </a:cubicBezTo>
                  <a:cubicBezTo>
                    <a:pt x="486" y="436"/>
                    <a:pt x="486" y="436"/>
                    <a:pt x="486" y="436"/>
                  </a:cubicBezTo>
                  <a:cubicBezTo>
                    <a:pt x="478" y="438"/>
                    <a:pt x="478" y="438"/>
                    <a:pt x="478" y="43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69" y="461"/>
                    <a:pt x="469" y="461"/>
                    <a:pt x="469" y="461"/>
                  </a:cubicBezTo>
                  <a:cubicBezTo>
                    <a:pt x="462" y="461"/>
                    <a:pt x="462" y="461"/>
                    <a:pt x="462" y="461"/>
                  </a:cubicBezTo>
                  <a:cubicBezTo>
                    <a:pt x="461" y="467"/>
                    <a:pt x="461" y="467"/>
                    <a:pt x="461" y="467"/>
                  </a:cubicBezTo>
                  <a:cubicBezTo>
                    <a:pt x="464" y="472"/>
                    <a:pt x="464" y="472"/>
                    <a:pt x="464" y="472"/>
                  </a:cubicBezTo>
                  <a:cubicBezTo>
                    <a:pt x="461" y="479"/>
                    <a:pt x="461" y="479"/>
                    <a:pt x="461" y="479"/>
                  </a:cubicBezTo>
                  <a:cubicBezTo>
                    <a:pt x="452" y="483"/>
                    <a:pt x="452" y="483"/>
                    <a:pt x="452" y="483"/>
                  </a:cubicBezTo>
                  <a:cubicBezTo>
                    <a:pt x="445" y="483"/>
                    <a:pt x="445" y="483"/>
                    <a:pt x="445" y="483"/>
                  </a:cubicBezTo>
                  <a:cubicBezTo>
                    <a:pt x="437" y="489"/>
                    <a:pt x="437" y="489"/>
                    <a:pt x="437" y="489"/>
                  </a:cubicBezTo>
                  <a:cubicBezTo>
                    <a:pt x="436" y="498"/>
                    <a:pt x="436" y="498"/>
                    <a:pt x="436" y="498"/>
                  </a:cubicBezTo>
                  <a:cubicBezTo>
                    <a:pt x="439" y="500"/>
                    <a:pt x="439" y="500"/>
                    <a:pt x="439" y="500"/>
                  </a:cubicBezTo>
                  <a:cubicBezTo>
                    <a:pt x="435" y="505"/>
                    <a:pt x="435" y="505"/>
                    <a:pt x="435" y="505"/>
                  </a:cubicBezTo>
                  <a:cubicBezTo>
                    <a:pt x="440" y="510"/>
                    <a:pt x="440" y="510"/>
                    <a:pt x="440" y="510"/>
                  </a:cubicBezTo>
                  <a:cubicBezTo>
                    <a:pt x="436" y="515"/>
                    <a:pt x="436" y="515"/>
                    <a:pt x="436" y="515"/>
                  </a:cubicBezTo>
                  <a:cubicBezTo>
                    <a:pt x="441" y="522"/>
                    <a:pt x="441" y="522"/>
                    <a:pt x="441" y="522"/>
                  </a:cubicBezTo>
                  <a:cubicBezTo>
                    <a:pt x="441" y="530"/>
                    <a:pt x="441" y="530"/>
                    <a:pt x="441" y="530"/>
                  </a:cubicBezTo>
                  <a:cubicBezTo>
                    <a:pt x="435" y="530"/>
                    <a:pt x="435" y="530"/>
                    <a:pt x="435" y="530"/>
                  </a:cubicBezTo>
                  <a:cubicBezTo>
                    <a:pt x="442" y="537"/>
                    <a:pt x="442" y="537"/>
                    <a:pt x="442" y="537"/>
                  </a:cubicBezTo>
                  <a:cubicBezTo>
                    <a:pt x="448" y="538"/>
                    <a:pt x="448" y="538"/>
                    <a:pt x="448" y="538"/>
                  </a:cubicBezTo>
                  <a:cubicBezTo>
                    <a:pt x="445" y="547"/>
                    <a:pt x="445" y="547"/>
                    <a:pt x="445" y="547"/>
                  </a:cubicBezTo>
                  <a:cubicBezTo>
                    <a:pt x="448" y="552"/>
                    <a:pt x="448" y="552"/>
                    <a:pt x="448" y="552"/>
                  </a:cubicBezTo>
                  <a:cubicBezTo>
                    <a:pt x="442" y="557"/>
                    <a:pt x="442" y="557"/>
                    <a:pt x="442" y="557"/>
                  </a:cubicBezTo>
                  <a:cubicBezTo>
                    <a:pt x="443" y="562"/>
                    <a:pt x="443" y="562"/>
                    <a:pt x="443" y="562"/>
                  </a:cubicBezTo>
                  <a:cubicBezTo>
                    <a:pt x="453" y="560"/>
                    <a:pt x="453" y="560"/>
                    <a:pt x="453" y="560"/>
                  </a:cubicBezTo>
                  <a:cubicBezTo>
                    <a:pt x="462" y="563"/>
                    <a:pt x="462" y="563"/>
                    <a:pt x="462" y="563"/>
                  </a:cubicBezTo>
                  <a:cubicBezTo>
                    <a:pt x="462" y="572"/>
                    <a:pt x="462" y="572"/>
                    <a:pt x="462" y="572"/>
                  </a:cubicBezTo>
                  <a:cubicBezTo>
                    <a:pt x="456" y="578"/>
                    <a:pt x="456" y="578"/>
                    <a:pt x="456" y="578"/>
                  </a:cubicBezTo>
                  <a:cubicBezTo>
                    <a:pt x="461" y="582"/>
                    <a:pt x="461" y="582"/>
                    <a:pt x="461" y="582"/>
                  </a:cubicBezTo>
                  <a:cubicBezTo>
                    <a:pt x="460" y="591"/>
                    <a:pt x="460" y="591"/>
                    <a:pt x="460" y="591"/>
                  </a:cubicBezTo>
                  <a:cubicBezTo>
                    <a:pt x="464" y="598"/>
                    <a:pt x="464" y="598"/>
                    <a:pt x="464" y="598"/>
                  </a:cubicBezTo>
                  <a:cubicBezTo>
                    <a:pt x="468" y="597"/>
                    <a:pt x="468" y="597"/>
                    <a:pt x="468" y="597"/>
                  </a:cubicBezTo>
                  <a:cubicBezTo>
                    <a:pt x="462" y="598"/>
                    <a:pt x="462" y="598"/>
                    <a:pt x="462" y="598"/>
                  </a:cubicBezTo>
                  <a:cubicBezTo>
                    <a:pt x="442" y="613"/>
                    <a:pt x="442" y="613"/>
                    <a:pt x="442" y="613"/>
                  </a:cubicBezTo>
                  <a:cubicBezTo>
                    <a:pt x="443" y="618"/>
                    <a:pt x="443" y="618"/>
                    <a:pt x="443" y="618"/>
                  </a:cubicBezTo>
                  <a:cubicBezTo>
                    <a:pt x="435" y="623"/>
                    <a:pt x="435" y="623"/>
                    <a:pt x="435" y="623"/>
                  </a:cubicBezTo>
                  <a:cubicBezTo>
                    <a:pt x="427" y="623"/>
                    <a:pt x="427" y="623"/>
                    <a:pt x="427" y="623"/>
                  </a:cubicBezTo>
                  <a:cubicBezTo>
                    <a:pt x="422" y="625"/>
                    <a:pt x="422" y="625"/>
                    <a:pt x="422" y="625"/>
                  </a:cubicBezTo>
                  <a:cubicBezTo>
                    <a:pt x="421" y="630"/>
                    <a:pt x="421" y="630"/>
                    <a:pt x="421" y="630"/>
                  </a:cubicBezTo>
                  <a:cubicBezTo>
                    <a:pt x="411" y="628"/>
                    <a:pt x="411" y="628"/>
                    <a:pt x="411" y="628"/>
                  </a:cubicBezTo>
                  <a:cubicBezTo>
                    <a:pt x="399" y="642"/>
                    <a:pt x="399" y="642"/>
                    <a:pt x="399" y="642"/>
                  </a:cubicBezTo>
                  <a:cubicBezTo>
                    <a:pt x="393" y="638"/>
                    <a:pt x="393" y="638"/>
                    <a:pt x="393" y="638"/>
                  </a:cubicBezTo>
                  <a:cubicBezTo>
                    <a:pt x="389" y="642"/>
                    <a:pt x="389" y="642"/>
                    <a:pt x="389" y="642"/>
                  </a:cubicBezTo>
                  <a:cubicBezTo>
                    <a:pt x="385" y="639"/>
                    <a:pt x="385" y="639"/>
                    <a:pt x="385" y="639"/>
                  </a:cubicBezTo>
                  <a:cubicBezTo>
                    <a:pt x="382" y="643"/>
                    <a:pt x="382" y="643"/>
                    <a:pt x="382" y="643"/>
                  </a:cubicBezTo>
                  <a:cubicBezTo>
                    <a:pt x="372" y="648"/>
                    <a:pt x="372" y="648"/>
                    <a:pt x="372" y="648"/>
                  </a:cubicBezTo>
                  <a:cubicBezTo>
                    <a:pt x="361" y="639"/>
                    <a:pt x="361" y="639"/>
                    <a:pt x="361" y="639"/>
                  </a:cubicBezTo>
                  <a:cubicBezTo>
                    <a:pt x="353" y="638"/>
                    <a:pt x="353" y="638"/>
                    <a:pt x="353" y="638"/>
                  </a:cubicBezTo>
                  <a:cubicBezTo>
                    <a:pt x="350" y="643"/>
                    <a:pt x="350" y="643"/>
                    <a:pt x="350" y="643"/>
                  </a:cubicBezTo>
                  <a:cubicBezTo>
                    <a:pt x="339" y="639"/>
                    <a:pt x="339" y="639"/>
                    <a:pt x="339" y="639"/>
                  </a:cubicBezTo>
                  <a:cubicBezTo>
                    <a:pt x="334" y="645"/>
                    <a:pt x="334" y="645"/>
                    <a:pt x="334" y="645"/>
                  </a:cubicBezTo>
                  <a:cubicBezTo>
                    <a:pt x="325" y="641"/>
                    <a:pt x="325" y="641"/>
                    <a:pt x="325" y="641"/>
                  </a:cubicBezTo>
                  <a:cubicBezTo>
                    <a:pt x="319" y="644"/>
                    <a:pt x="319" y="644"/>
                    <a:pt x="319" y="644"/>
                  </a:cubicBezTo>
                  <a:cubicBezTo>
                    <a:pt x="312" y="638"/>
                    <a:pt x="312" y="638"/>
                    <a:pt x="312" y="638"/>
                  </a:cubicBezTo>
                  <a:cubicBezTo>
                    <a:pt x="309" y="643"/>
                    <a:pt x="309" y="643"/>
                    <a:pt x="309" y="643"/>
                  </a:cubicBezTo>
                  <a:cubicBezTo>
                    <a:pt x="301" y="643"/>
                    <a:pt x="301" y="643"/>
                    <a:pt x="301" y="643"/>
                  </a:cubicBezTo>
                  <a:cubicBezTo>
                    <a:pt x="290" y="654"/>
                    <a:pt x="290" y="654"/>
                    <a:pt x="290" y="654"/>
                  </a:cubicBezTo>
                  <a:cubicBezTo>
                    <a:pt x="287" y="653"/>
                    <a:pt x="287" y="653"/>
                    <a:pt x="287" y="653"/>
                  </a:cubicBezTo>
                  <a:cubicBezTo>
                    <a:pt x="286" y="647"/>
                    <a:pt x="286" y="647"/>
                    <a:pt x="286" y="647"/>
                  </a:cubicBezTo>
                  <a:cubicBezTo>
                    <a:pt x="281" y="643"/>
                    <a:pt x="281" y="643"/>
                    <a:pt x="281" y="643"/>
                  </a:cubicBezTo>
                  <a:cubicBezTo>
                    <a:pt x="275" y="637"/>
                    <a:pt x="275" y="637"/>
                    <a:pt x="275" y="637"/>
                  </a:cubicBezTo>
                  <a:cubicBezTo>
                    <a:pt x="269" y="636"/>
                    <a:pt x="269" y="636"/>
                    <a:pt x="269" y="636"/>
                  </a:cubicBezTo>
                  <a:cubicBezTo>
                    <a:pt x="267" y="628"/>
                    <a:pt x="267" y="628"/>
                    <a:pt x="267" y="628"/>
                  </a:cubicBezTo>
                  <a:cubicBezTo>
                    <a:pt x="264" y="625"/>
                    <a:pt x="264" y="625"/>
                    <a:pt x="264" y="625"/>
                  </a:cubicBezTo>
                  <a:cubicBezTo>
                    <a:pt x="265" y="619"/>
                    <a:pt x="265" y="619"/>
                    <a:pt x="265" y="619"/>
                  </a:cubicBezTo>
                  <a:cubicBezTo>
                    <a:pt x="253" y="606"/>
                    <a:pt x="253" y="606"/>
                    <a:pt x="253" y="606"/>
                  </a:cubicBezTo>
                  <a:cubicBezTo>
                    <a:pt x="252" y="603"/>
                    <a:pt x="252" y="603"/>
                    <a:pt x="252" y="603"/>
                  </a:cubicBezTo>
                  <a:cubicBezTo>
                    <a:pt x="248" y="603"/>
                    <a:pt x="248" y="603"/>
                    <a:pt x="248" y="603"/>
                  </a:cubicBezTo>
                  <a:cubicBezTo>
                    <a:pt x="248" y="597"/>
                    <a:pt x="248" y="597"/>
                    <a:pt x="248" y="597"/>
                  </a:cubicBezTo>
                  <a:cubicBezTo>
                    <a:pt x="238" y="587"/>
                    <a:pt x="238" y="587"/>
                    <a:pt x="238" y="587"/>
                  </a:cubicBezTo>
                  <a:cubicBezTo>
                    <a:pt x="234" y="591"/>
                    <a:pt x="234" y="591"/>
                    <a:pt x="234" y="591"/>
                  </a:cubicBezTo>
                  <a:cubicBezTo>
                    <a:pt x="231" y="595"/>
                    <a:pt x="231" y="595"/>
                    <a:pt x="231" y="595"/>
                  </a:cubicBezTo>
                  <a:cubicBezTo>
                    <a:pt x="225" y="598"/>
                    <a:pt x="225" y="598"/>
                    <a:pt x="225" y="598"/>
                  </a:cubicBezTo>
                  <a:cubicBezTo>
                    <a:pt x="220" y="592"/>
                    <a:pt x="220" y="592"/>
                    <a:pt x="220" y="592"/>
                  </a:cubicBezTo>
                  <a:cubicBezTo>
                    <a:pt x="219" y="586"/>
                    <a:pt x="219" y="586"/>
                    <a:pt x="219" y="586"/>
                  </a:cubicBezTo>
                  <a:cubicBezTo>
                    <a:pt x="211" y="583"/>
                    <a:pt x="211" y="583"/>
                    <a:pt x="211" y="583"/>
                  </a:cubicBezTo>
                  <a:cubicBezTo>
                    <a:pt x="211" y="583"/>
                    <a:pt x="204" y="580"/>
                    <a:pt x="204" y="580"/>
                  </a:cubicBezTo>
                  <a:cubicBezTo>
                    <a:pt x="203" y="580"/>
                    <a:pt x="189" y="580"/>
                    <a:pt x="189" y="580"/>
                  </a:cubicBezTo>
                  <a:cubicBezTo>
                    <a:pt x="184" y="586"/>
                    <a:pt x="184" y="586"/>
                    <a:pt x="184" y="586"/>
                  </a:cubicBezTo>
                  <a:cubicBezTo>
                    <a:pt x="182" y="592"/>
                    <a:pt x="182" y="592"/>
                    <a:pt x="182" y="592"/>
                  </a:cubicBezTo>
                  <a:cubicBezTo>
                    <a:pt x="178" y="595"/>
                    <a:pt x="178" y="595"/>
                    <a:pt x="178" y="595"/>
                  </a:cubicBezTo>
                  <a:cubicBezTo>
                    <a:pt x="183" y="602"/>
                    <a:pt x="183" y="602"/>
                    <a:pt x="183" y="602"/>
                  </a:cubicBezTo>
                  <a:cubicBezTo>
                    <a:pt x="177" y="608"/>
                    <a:pt x="177" y="608"/>
                    <a:pt x="177" y="608"/>
                  </a:cubicBezTo>
                  <a:cubicBezTo>
                    <a:pt x="172" y="616"/>
                    <a:pt x="172" y="616"/>
                    <a:pt x="172" y="616"/>
                  </a:cubicBezTo>
                  <a:cubicBezTo>
                    <a:pt x="173" y="628"/>
                    <a:pt x="173" y="628"/>
                    <a:pt x="173" y="628"/>
                  </a:cubicBezTo>
                  <a:cubicBezTo>
                    <a:pt x="164" y="633"/>
                    <a:pt x="164" y="633"/>
                    <a:pt x="164" y="633"/>
                  </a:cubicBezTo>
                  <a:cubicBezTo>
                    <a:pt x="164" y="641"/>
                    <a:pt x="164" y="641"/>
                    <a:pt x="164" y="641"/>
                  </a:cubicBezTo>
                  <a:cubicBezTo>
                    <a:pt x="160" y="637"/>
                    <a:pt x="160" y="637"/>
                    <a:pt x="160" y="637"/>
                  </a:cubicBezTo>
                  <a:cubicBezTo>
                    <a:pt x="159" y="630"/>
                    <a:pt x="159" y="630"/>
                    <a:pt x="159" y="630"/>
                  </a:cubicBezTo>
                  <a:cubicBezTo>
                    <a:pt x="156" y="627"/>
                    <a:pt x="156" y="627"/>
                    <a:pt x="156" y="627"/>
                  </a:cubicBezTo>
                  <a:cubicBezTo>
                    <a:pt x="151" y="632"/>
                    <a:pt x="151" y="632"/>
                    <a:pt x="151" y="632"/>
                  </a:cubicBezTo>
                  <a:cubicBezTo>
                    <a:pt x="146" y="634"/>
                    <a:pt x="146" y="634"/>
                    <a:pt x="146" y="634"/>
                  </a:cubicBezTo>
                  <a:cubicBezTo>
                    <a:pt x="136" y="637"/>
                    <a:pt x="136" y="637"/>
                    <a:pt x="136" y="637"/>
                  </a:cubicBezTo>
                  <a:cubicBezTo>
                    <a:pt x="129" y="648"/>
                    <a:pt x="129" y="648"/>
                    <a:pt x="129" y="648"/>
                  </a:cubicBezTo>
                  <a:cubicBezTo>
                    <a:pt x="121" y="649"/>
                    <a:pt x="121" y="649"/>
                    <a:pt x="121" y="649"/>
                  </a:cubicBezTo>
                  <a:cubicBezTo>
                    <a:pt x="112" y="641"/>
                    <a:pt x="112" y="641"/>
                    <a:pt x="112" y="641"/>
                  </a:cubicBezTo>
                  <a:cubicBezTo>
                    <a:pt x="112" y="613"/>
                    <a:pt x="112" y="613"/>
                    <a:pt x="112" y="613"/>
                  </a:cubicBezTo>
                  <a:cubicBezTo>
                    <a:pt x="113" y="601"/>
                    <a:pt x="113" y="601"/>
                    <a:pt x="113" y="601"/>
                  </a:cubicBezTo>
                  <a:cubicBezTo>
                    <a:pt x="114" y="589"/>
                    <a:pt x="114" y="589"/>
                    <a:pt x="114" y="589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3" y="578"/>
                    <a:pt x="103" y="578"/>
                    <a:pt x="103" y="578"/>
                  </a:cubicBezTo>
                  <a:cubicBezTo>
                    <a:pt x="100" y="573"/>
                    <a:pt x="100" y="573"/>
                    <a:pt x="100" y="573"/>
                  </a:cubicBezTo>
                  <a:cubicBezTo>
                    <a:pt x="97" y="571"/>
                    <a:pt x="97" y="571"/>
                    <a:pt x="97" y="571"/>
                  </a:cubicBezTo>
                  <a:cubicBezTo>
                    <a:pt x="97" y="566"/>
                    <a:pt x="97" y="566"/>
                    <a:pt x="97" y="566"/>
                  </a:cubicBezTo>
                  <a:cubicBezTo>
                    <a:pt x="100" y="563"/>
                    <a:pt x="100" y="563"/>
                    <a:pt x="100" y="563"/>
                  </a:cubicBezTo>
                  <a:cubicBezTo>
                    <a:pt x="100" y="557"/>
                    <a:pt x="100" y="557"/>
                    <a:pt x="100" y="557"/>
                  </a:cubicBezTo>
                  <a:cubicBezTo>
                    <a:pt x="95" y="554"/>
                    <a:pt x="95" y="554"/>
                    <a:pt x="95" y="554"/>
                  </a:cubicBezTo>
                  <a:cubicBezTo>
                    <a:pt x="86" y="551"/>
                    <a:pt x="86" y="551"/>
                    <a:pt x="86" y="551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85" y="538"/>
                    <a:pt x="85" y="538"/>
                    <a:pt x="85" y="538"/>
                  </a:cubicBezTo>
                  <a:cubicBezTo>
                    <a:pt x="81" y="530"/>
                    <a:pt x="81" y="530"/>
                    <a:pt x="81" y="530"/>
                  </a:cubicBezTo>
                  <a:cubicBezTo>
                    <a:pt x="76" y="524"/>
                    <a:pt x="76" y="524"/>
                    <a:pt x="76" y="524"/>
                  </a:cubicBezTo>
                  <a:cubicBezTo>
                    <a:pt x="66" y="526"/>
                    <a:pt x="66" y="526"/>
                    <a:pt x="66" y="526"/>
                  </a:cubicBezTo>
                  <a:cubicBezTo>
                    <a:pt x="63" y="520"/>
                    <a:pt x="63" y="520"/>
                    <a:pt x="63" y="520"/>
                  </a:cubicBezTo>
                  <a:cubicBezTo>
                    <a:pt x="70" y="516"/>
                    <a:pt x="70" y="516"/>
                    <a:pt x="70" y="516"/>
                  </a:cubicBezTo>
                  <a:cubicBezTo>
                    <a:pt x="65" y="510"/>
                    <a:pt x="65" y="510"/>
                    <a:pt x="65" y="510"/>
                  </a:cubicBezTo>
                  <a:cubicBezTo>
                    <a:pt x="64" y="504"/>
                    <a:pt x="64" y="504"/>
                    <a:pt x="64" y="504"/>
                  </a:cubicBezTo>
                  <a:cubicBezTo>
                    <a:pt x="60" y="504"/>
                    <a:pt x="60" y="504"/>
                    <a:pt x="60" y="504"/>
                  </a:cubicBezTo>
                  <a:cubicBezTo>
                    <a:pt x="56" y="507"/>
                    <a:pt x="56" y="507"/>
                    <a:pt x="56" y="507"/>
                  </a:cubicBezTo>
                  <a:cubicBezTo>
                    <a:pt x="50" y="505"/>
                    <a:pt x="50" y="505"/>
                    <a:pt x="50" y="505"/>
                  </a:cubicBezTo>
                  <a:cubicBezTo>
                    <a:pt x="45" y="508"/>
                    <a:pt x="45" y="508"/>
                    <a:pt x="45" y="508"/>
                  </a:cubicBezTo>
                  <a:cubicBezTo>
                    <a:pt x="41" y="505"/>
                    <a:pt x="41" y="505"/>
                    <a:pt x="41" y="505"/>
                  </a:cubicBezTo>
                  <a:cubicBezTo>
                    <a:pt x="34" y="508"/>
                    <a:pt x="34" y="508"/>
                    <a:pt x="34" y="508"/>
                  </a:cubicBezTo>
                  <a:cubicBezTo>
                    <a:pt x="27" y="507"/>
                    <a:pt x="27" y="507"/>
                    <a:pt x="27" y="507"/>
                  </a:cubicBezTo>
                  <a:cubicBezTo>
                    <a:pt x="27" y="498"/>
                    <a:pt x="27" y="498"/>
                    <a:pt x="27" y="498"/>
                  </a:cubicBezTo>
                  <a:cubicBezTo>
                    <a:pt x="28" y="496"/>
                    <a:pt x="28" y="496"/>
                    <a:pt x="28" y="496"/>
                  </a:cubicBezTo>
                  <a:cubicBezTo>
                    <a:pt x="28" y="489"/>
                    <a:pt x="28" y="489"/>
                    <a:pt x="28" y="489"/>
                  </a:cubicBezTo>
                  <a:cubicBezTo>
                    <a:pt x="32" y="475"/>
                    <a:pt x="32" y="475"/>
                    <a:pt x="32" y="475"/>
                  </a:cubicBezTo>
                  <a:cubicBezTo>
                    <a:pt x="25" y="467"/>
                    <a:pt x="25" y="467"/>
                    <a:pt x="25" y="467"/>
                  </a:cubicBezTo>
                  <a:cubicBezTo>
                    <a:pt x="24" y="458"/>
                    <a:pt x="24" y="458"/>
                    <a:pt x="24" y="458"/>
                  </a:cubicBezTo>
                  <a:cubicBezTo>
                    <a:pt x="18" y="454"/>
                    <a:pt x="18" y="454"/>
                    <a:pt x="18" y="454"/>
                  </a:cubicBezTo>
                  <a:cubicBezTo>
                    <a:pt x="17" y="449"/>
                    <a:pt x="17" y="449"/>
                    <a:pt x="17" y="449"/>
                  </a:cubicBezTo>
                  <a:cubicBezTo>
                    <a:pt x="20" y="446"/>
                    <a:pt x="20" y="446"/>
                    <a:pt x="20" y="446"/>
                  </a:cubicBezTo>
                  <a:cubicBezTo>
                    <a:pt x="17" y="442"/>
                    <a:pt x="17" y="442"/>
                    <a:pt x="17" y="442"/>
                  </a:cubicBezTo>
                  <a:cubicBezTo>
                    <a:pt x="17" y="437"/>
                    <a:pt x="17" y="437"/>
                    <a:pt x="17" y="437"/>
                  </a:cubicBezTo>
                  <a:cubicBezTo>
                    <a:pt x="8" y="437"/>
                    <a:pt x="8" y="437"/>
                    <a:pt x="8" y="437"/>
                  </a:cubicBezTo>
                  <a:cubicBezTo>
                    <a:pt x="7" y="433"/>
                    <a:pt x="7" y="433"/>
                    <a:pt x="7" y="433"/>
                  </a:cubicBezTo>
                  <a:cubicBezTo>
                    <a:pt x="14" y="426"/>
                    <a:pt x="14" y="426"/>
                    <a:pt x="14" y="426"/>
                  </a:cubicBezTo>
                  <a:cubicBezTo>
                    <a:pt x="19" y="424"/>
                    <a:pt x="19" y="424"/>
                    <a:pt x="19" y="424"/>
                  </a:cubicBezTo>
                  <a:cubicBezTo>
                    <a:pt x="15" y="395"/>
                    <a:pt x="15" y="395"/>
                    <a:pt x="15" y="395"/>
                  </a:cubicBezTo>
                  <a:cubicBezTo>
                    <a:pt x="11" y="385"/>
                    <a:pt x="11" y="385"/>
                    <a:pt x="11" y="38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62"/>
                    <a:pt x="0" y="362"/>
                    <a:pt x="0" y="362"/>
                  </a:cubicBezTo>
                  <a:cubicBezTo>
                    <a:pt x="1" y="356"/>
                    <a:pt x="1" y="356"/>
                    <a:pt x="1" y="356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14" y="342"/>
                    <a:pt x="14" y="342"/>
                    <a:pt x="14" y="342"/>
                  </a:cubicBezTo>
                  <a:cubicBezTo>
                    <a:pt x="21" y="344"/>
                    <a:pt x="21" y="344"/>
                    <a:pt x="21" y="344"/>
                  </a:cubicBezTo>
                  <a:cubicBezTo>
                    <a:pt x="26" y="344"/>
                    <a:pt x="26" y="344"/>
                    <a:pt x="26" y="344"/>
                  </a:cubicBezTo>
                  <a:cubicBezTo>
                    <a:pt x="29" y="335"/>
                    <a:pt x="29" y="335"/>
                    <a:pt x="29" y="335"/>
                  </a:cubicBezTo>
                  <a:cubicBezTo>
                    <a:pt x="25" y="330"/>
                    <a:pt x="25" y="330"/>
                    <a:pt x="25" y="330"/>
                  </a:cubicBezTo>
                  <a:cubicBezTo>
                    <a:pt x="27" y="322"/>
                    <a:pt x="27" y="322"/>
                    <a:pt x="27" y="322"/>
                  </a:cubicBezTo>
                  <a:cubicBezTo>
                    <a:pt x="31" y="322"/>
                    <a:pt x="31" y="322"/>
                    <a:pt x="31" y="322"/>
                  </a:cubicBezTo>
                  <a:cubicBezTo>
                    <a:pt x="31" y="311"/>
                    <a:pt x="31" y="311"/>
                    <a:pt x="31" y="311"/>
                  </a:cubicBezTo>
                  <a:cubicBezTo>
                    <a:pt x="42" y="300"/>
                    <a:pt x="42" y="300"/>
                    <a:pt x="42" y="300"/>
                  </a:cubicBezTo>
                  <a:cubicBezTo>
                    <a:pt x="43" y="295"/>
                    <a:pt x="43" y="295"/>
                    <a:pt x="43" y="295"/>
                  </a:cubicBezTo>
                  <a:cubicBezTo>
                    <a:pt x="46" y="295"/>
                    <a:pt x="46" y="295"/>
                    <a:pt x="46" y="295"/>
                  </a:cubicBezTo>
                  <a:cubicBezTo>
                    <a:pt x="47" y="286"/>
                    <a:pt x="47" y="286"/>
                    <a:pt x="47" y="286"/>
                  </a:cubicBezTo>
                  <a:cubicBezTo>
                    <a:pt x="40" y="288"/>
                    <a:pt x="40" y="288"/>
                    <a:pt x="40" y="288"/>
                  </a:cubicBezTo>
                  <a:cubicBezTo>
                    <a:pt x="37" y="280"/>
                    <a:pt x="37" y="280"/>
                    <a:pt x="37" y="280"/>
                  </a:cubicBezTo>
                  <a:cubicBezTo>
                    <a:pt x="35" y="270"/>
                    <a:pt x="35" y="270"/>
                    <a:pt x="35" y="270"/>
                  </a:cubicBezTo>
                  <a:cubicBezTo>
                    <a:pt x="24" y="260"/>
                    <a:pt x="24" y="260"/>
                    <a:pt x="24" y="260"/>
                  </a:cubicBezTo>
                  <a:cubicBezTo>
                    <a:pt x="23" y="256"/>
                    <a:pt x="23" y="256"/>
                    <a:pt x="23" y="256"/>
                  </a:cubicBezTo>
                  <a:cubicBezTo>
                    <a:pt x="16" y="255"/>
                    <a:pt x="16" y="255"/>
                    <a:pt x="16" y="255"/>
                  </a:cubicBezTo>
                  <a:cubicBezTo>
                    <a:pt x="13" y="249"/>
                    <a:pt x="13" y="249"/>
                    <a:pt x="13" y="249"/>
                  </a:cubicBezTo>
                  <a:cubicBezTo>
                    <a:pt x="14" y="240"/>
                    <a:pt x="14" y="240"/>
                    <a:pt x="14" y="240"/>
                  </a:cubicBezTo>
                  <a:cubicBezTo>
                    <a:pt x="7" y="231"/>
                    <a:pt x="7" y="231"/>
                    <a:pt x="7" y="231"/>
                  </a:cubicBezTo>
                  <a:cubicBezTo>
                    <a:pt x="11" y="224"/>
                    <a:pt x="11" y="224"/>
                    <a:pt x="11" y="224"/>
                  </a:cubicBezTo>
                  <a:cubicBezTo>
                    <a:pt x="6" y="215"/>
                    <a:pt x="6" y="215"/>
                    <a:pt x="6" y="215"/>
                  </a:cubicBezTo>
                  <a:cubicBezTo>
                    <a:pt x="4" y="211"/>
                    <a:pt x="4" y="211"/>
                    <a:pt x="4" y="211"/>
                  </a:cubicBezTo>
                  <a:close/>
                  <a:moveTo>
                    <a:pt x="229" y="18"/>
                  </a:moveTo>
                  <a:cubicBezTo>
                    <a:pt x="229" y="18"/>
                    <a:pt x="230" y="22"/>
                    <a:pt x="234" y="26"/>
                  </a:cubicBezTo>
                  <a:cubicBezTo>
                    <a:pt x="238" y="30"/>
                    <a:pt x="242" y="26"/>
                    <a:pt x="245" y="26"/>
                  </a:cubicBezTo>
                  <a:cubicBezTo>
                    <a:pt x="248" y="27"/>
                    <a:pt x="252" y="25"/>
                    <a:pt x="256" y="23"/>
                  </a:cubicBezTo>
                  <a:cubicBezTo>
                    <a:pt x="259" y="22"/>
                    <a:pt x="263" y="17"/>
                    <a:pt x="265" y="13"/>
                  </a:cubicBezTo>
                  <a:cubicBezTo>
                    <a:pt x="267" y="9"/>
                    <a:pt x="268" y="7"/>
                    <a:pt x="266" y="3"/>
                  </a:cubicBezTo>
                  <a:cubicBezTo>
                    <a:pt x="263" y="0"/>
                    <a:pt x="260" y="0"/>
                    <a:pt x="259" y="1"/>
                  </a:cubicBezTo>
                  <a:cubicBezTo>
                    <a:pt x="257" y="2"/>
                    <a:pt x="251" y="3"/>
                    <a:pt x="251" y="6"/>
                  </a:cubicBezTo>
                  <a:cubicBezTo>
                    <a:pt x="250" y="9"/>
                    <a:pt x="247" y="10"/>
                    <a:pt x="246" y="9"/>
                  </a:cubicBezTo>
                  <a:cubicBezTo>
                    <a:pt x="244" y="8"/>
                    <a:pt x="241" y="9"/>
                    <a:pt x="239" y="11"/>
                  </a:cubicBezTo>
                  <a:cubicBezTo>
                    <a:pt x="237" y="14"/>
                    <a:pt x="239" y="16"/>
                    <a:pt x="236" y="17"/>
                  </a:cubicBezTo>
                  <a:cubicBezTo>
                    <a:pt x="233" y="17"/>
                    <a:pt x="229" y="18"/>
                    <a:pt x="229" y="18"/>
                  </a:cubicBezTo>
                  <a:close/>
                  <a:moveTo>
                    <a:pt x="217" y="54"/>
                  </a:moveTo>
                  <a:cubicBezTo>
                    <a:pt x="217" y="54"/>
                    <a:pt x="221" y="54"/>
                    <a:pt x="223" y="53"/>
                  </a:cubicBezTo>
                  <a:cubicBezTo>
                    <a:pt x="224" y="53"/>
                    <a:pt x="225" y="49"/>
                    <a:pt x="225" y="48"/>
                  </a:cubicBezTo>
                  <a:cubicBezTo>
                    <a:pt x="224" y="46"/>
                    <a:pt x="220" y="45"/>
                    <a:pt x="222" y="45"/>
                  </a:cubicBezTo>
                  <a:cubicBezTo>
                    <a:pt x="224" y="45"/>
                    <a:pt x="226" y="44"/>
                    <a:pt x="228" y="41"/>
                  </a:cubicBezTo>
                  <a:cubicBezTo>
                    <a:pt x="230" y="38"/>
                    <a:pt x="227" y="36"/>
                    <a:pt x="225" y="32"/>
                  </a:cubicBezTo>
                  <a:cubicBezTo>
                    <a:pt x="223" y="29"/>
                    <a:pt x="221" y="24"/>
                    <a:pt x="217" y="23"/>
                  </a:cubicBezTo>
                  <a:cubicBezTo>
                    <a:pt x="213" y="21"/>
                    <a:pt x="205" y="25"/>
                    <a:pt x="203" y="27"/>
                  </a:cubicBezTo>
                  <a:cubicBezTo>
                    <a:pt x="201" y="29"/>
                    <a:pt x="199" y="32"/>
                    <a:pt x="197" y="31"/>
                  </a:cubicBezTo>
                  <a:cubicBezTo>
                    <a:pt x="195" y="30"/>
                    <a:pt x="189" y="30"/>
                    <a:pt x="188" y="32"/>
                  </a:cubicBezTo>
                  <a:cubicBezTo>
                    <a:pt x="187" y="35"/>
                    <a:pt x="192" y="40"/>
                    <a:pt x="193" y="42"/>
                  </a:cubicBezTo>
                  <a:cubicBezTo>
                    <a:pt x="193" y="43"/>
                    <a:pt x="190" y="46"/>
                    <a:pt x="188" y="44"/>
                  </a:cubicBezTo>
                  <a:cubicBezTo>
                    <a:pt x="186" y="42"/>
                    <a:pt x="183" y="49"/>
                    <a:pt x="179" y="45"/>
                  </a:cubicBezTo>
                  <a:cubicBezTo>
                    <a:pt x="175" y="40"/>
                    <a:pt x="169" y="44"/>
                    <a:pt x="169" y="47"/>
                  </a:cubicBezTo>
                  <a:cubicBezTo>
                    <a:pt x="168" y="50"/>
                    <a:pt x="168" y="62"/>
                    <a:pt x="173" y="67"/>
                  </a:cubicBezTo>
                  <a:cubicBezTo>
                    <a:pt x="178" y="71"/>
                    <a:pt x="177" y="74"/>
                    <a:pt x="180" y="76"/>
                  </a:cubicBezTo>
                  <a:cubicBezTo>
                    <a:pt x="183" y="78"/>
                    <a:pt x="202" y="79"/>
                    <a:pt x="204" y="79"/>
                  </a:cubicBezTo>
                  <a:cubicBezTo>
                    <a:pt x="207" y="78"/>
                    <a:pt x="201" y="72"/>
                    <a:pt x="202" y="68"/>
                  </a:cubicBezTo>
                  <a:cubicBezTo>
                    <a:pt x="202" y="64"/>
                    <a:pt x="206" y="66"/>
                    <a:pt x="208" y="63"/>
                  </a:cubicBezTo>
                  <a:cubicBezTo>
                    <a:pt x="210" y="60"/>
                    <a:pt x="217" y="54"/>
                    <a:pt x="217" y="54"/>
                  </a:cubicBezTo>
                  <a:close/>
                  <a:moveTo>
                    <a:pt x="222" y="79"/>
                  </a:moveTo>
                  <a:cubicBezTo>
                    <a:pt x="221" y="82"/>
                    <a:pt x="220" y="88"/>
                    <a:pt x="224" y="89"/>
                  </a:cubicBezTo>
                  <a:cubicBezTo>
                    <a:pt x="227" y="90"/>
                    <a:pt x="232" y="84"/>
                    <a:pt x="230" y="81"/>
                  </a:cubicBezTo>
                  <a:cubicBezTo>
                    <a:pt x="228" y="77"/>
                    <a:pt x="222" y="79"/>
                    <a:pt x="222" y="79"/>
                  </a:cubicBezTo>
                  <a:close/>
                  <a:moveTo>
                    <a:pt x="234" y="90"/>
                  </a:moveTo>
                  <a:cubicBezTo>
                    <a:pt x="234" y="90"/>
                    <a:pt x="237" y="95"/>
                    <a:pt x="235" y="98"/>
                  </a:cubicBezTo>
                  <a:cubicBezTo>
                    <a:pt x="233" y="100"/>
                    <a:pt x="235" y="107"/>
                    <a:pt x="237" y="103"/>
                  </a:cubicBezTo>
                  <a:cubicBezTo>
                    <a:pt x="239" y="100"/>
                    <a:pt x="244" y="98"/>
                    <a:pt x="246" y="98"/>
                  </a:cubicBezTo>
                  <a:cubicBezTo>
                    <a:pt x="248" y="98"/>
                    <a:pt x="262" y="91"/>
                    <a:pt x="261" y="86"/>
                  </a:cubicBezTo>
                  <a:cubicBezTo>
                    <a:pt x="261" y="82"/>
                    <a:pt x="258" y="81"/>
                    <a:pt x="250" y="80"/>
                  </a:cubicBezTo>
                  <a:cubicBezTo>
                    <a:pt x="243" y="79"/>
                    <a:pt x="239" y="80"/>
                    <a:pt x="236" y="82"/>
                  </a:cubicBezTo>
                  <a:cubicBezTo>
                    <a:pt x="234" y="83"/>
                    <a:pt x="234" y="90"/>
                    <a:pt x="234" y="90"/>
                  </a:cubicBezTo>
                  <a:close/>
                  <a:moveTo>
                    <a:pt x="15" y="190"/>
                  </a:moveTo>
                  <a:cubicBezTo>
                    <a:pt x="11" y="191"/>
                    <a:pt x="8" y="198"/>
                    <a:pt x="5" y="199"/>
                  </a:cubicBezTo>
                  <a:cubicBezTo>
                    <a:pt x="1" y="200"/>
                    <a:pt x="11" y="204"/>
                    <a:pt x="16" y="204"/>
                  </a:cubicBezTo>
                  <a:cubicBezTo>
                    <a:pt x="20" y="204"/>
                    <a:pt x="23" y="198"/>
                    <a:pt x="22" y="194"/>
                  </a:cubicBezTo>
                  <a:cubicBezTo>
                    <a:pt x="21" y="190"/>
                    <a:pt x="15" y="190"/>
                    <a:pt x="15" y="19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2" name="Freeform 69"/>
            <p:cNvSpPr>
              <a:spLocks/>
            </p:cNvSpPr>
            <p:nvPr/>
          </p:nvSpPr>
          <p:spPr bwMode="auto">
            <a:xfrm>
              <a:off x="1665" y="2986"/>
              <a:ext cx="654" cy="384"/>
            </a:xfrm>
            <a:custGeom>
              <a:avLst/>
              <a:gdLst>
                <a:gd name="T0" fmla="*/ 639 w 654"/>
                <a:gd name="T1" fmla="*/ 84 h 384"/>
                <a:gd name="T2" fmla="*/ 650 w 654"/>
                <a:gd name="T3" fmla="*/ 115 h 384"/>
                <a:gd name="T4" fmla="*/ 608 w 654"/>
                <a:gd name="T5" fmla="*/ 136 h 384"/>
                <a:gd name="T6" fmla="*/ 533 w 654"/>
                <a:gd name="T7" fmla="*/ 169 h 384"/>
                <a:gd name="T8" fmla="*/ 468 w 654"/>
                <a:gd name="T9" fmla="*/ 215 h 384"/>
                <a:gd name="T10" fmla="*/ 446 w 654"/>
                <a:gd name="T11" fmla="*/ 205 h 384"/>
                <a:gd name="T12" fmla="*/ 400 w 654"/>
                <a:gd name="T13" fmla="*/ 261 h 384"/>
                <a:gd name="T14" fmla="*/ 373 w 654"/>
                <a:gd name="T15" fmla="*/ 307 h 384"/>
                <a:gd name="T16" fmla="*/ 368 w 654"/>
                <a:gd name="T17" fmla="*/ 340 h 384"/>
                <a:gd name="T18" fmla="*/ 345 w 654"/>
                <a:gd name="T19" fmla="*/ 373 h 384"/>
                <a:gd name="T20" fmla="*/ 275 w 654"/>
                <a:gd name="T21" fmla="*/ 361 h 384"/>
                <a:gd name="T22" fmla="*/ 241 w 654"/>
                <a:gd name="T23" fmla="*/ 363 h 384"/>
                <a:gd name="T24" fmla="*/ 212 w 654"/>
                <a:gd name="T25" fmla="*/ 361 h 384"/>
                <a:gd name="T26" fmla="*/ 170 w 654"/>
                <a:gd name="T27" fmla="*/ 355 h 384"/>
                <a:gd name="T28" fmla="*/ 150 w 654"/>
                <a:gd name="T29" fmla="*/ 325 h 384"/>
                <a:gd name="T30" fmla="*/ 135 w 654"/>
                <a:gd name="T31" fmla="*/ 334 h 384"/>
                <a:gd name="T32" fmla="*/ 118 w 654"/>
                <a:gd name="T33" fmla="*/ 344 h 384"/>
                <a:gd name="T34" fmla="*/ 95 w 654"/>
                <a:gd name="T35" fmla="*/ 359 h 384"/>
                <a:gd name="T36" fmla="*/ 72 w 654"/>
                <a:gd name="T37" fmla="*/ 353 h 384"/>
                <a:gd name="T38" fmla="*/ 39 w 654"/>
                <a:gd name="T39" fmla="*/ 348 h 384"/>
                <a:gd name="T40" fmla="*/ 14 w 654"/>
                <a:gd name="T41" fmla="*/ 375 h 384"/>
                <a:gd name="T42" fmla="*/ 10 w 654"/>
                <a:gd name="T43" fmla="*/ 342 h 384"/>
                <a:gd name="T44" fmla="*/ 8 w 654"/>
                <a:gd name="T45" fmla="*/ 313 h 384"/>
                <a:gd name="T46" fmla="*/ 27 w 654"/>
                <a:gd name="T47" fmla="*/ 284 h 384"/>
                <a:gd name="T48" fmla="*/ 31 w 654"/>
                <a:gd name="T49" fmla="*/ 267 h 384"/>
                <a:gd name="T50" fmla="*/ 85 w 654"/>
                <a:gd name="T51" fmla="*/ 244 h 384"/>
                <a:gd name="T52" fmla="*/ 116 w 654"/>
                <a:gd name="T53" fmla="*/ 178 h 384"/>
                <a:gd name="T54" fmla="*/ 77 w 654"/>
                <a:gd name="T55" fmla="*/ 192 h 384"/>
                <a:gd name="T56" fmla="*/ 64 w 654"/>
                <a:gd name="T57" fmla="*/ 163 h 384"/>
                <a:gd name="T58" fmla="*/ 89 w 654"/>
                <a:gd name="T59" fmla="*/ 134 h 384"/>
                <a:gd name="T60" fmla="*/ 95 w 654"/>
                <a:gd name="T61" fmla="*/ 109 h 384"/>
                <a:gd name="T62" fmla="*/ 83 w 654"/>
                <a:gd name="T63" fmla="*/ 55 h 384"/>
                <a:gd name="T64" fmla="*/ 122 w 654"/>
                <a:gd name="T65" fmla="*/ 73 h 384"/>
                <a:gd name="T66" fmla="*/ 173 w 654"/>
                <a:gd name="T67" fmla="*/ 94 h 384"/>
                <a:gd name="T68" fmla="*/ 208 w 654"/>
                <a:gd name="T69" fmla="*/ 80 h 384"/>
                <a:gd name="T70" fmla="*/ 214 w 654"/>
                <a:gd name="T71" fmla="*/ 25 h 384"/>
                <a:gd name="T72" fmla="*/ 308 w 654"/>
                <a:gd name="T73" fmla="*/ 0 h 384"/>
                <a:gd name="T74" fmla="*/ 364 w 654"/>
                <a:gd name="T75" fmla="*/ 21 h 384"/>
                <a:gd name="T76" fmla="*/ 425 w 654"/>
                <a:gd name="T77" fmla="*/ 65 h 384"/>
                <a:gd name="T78" fmla="*/ 518 w 654"/>
                <a:gd name="T79" fmla="*/ 102 h 384"/>
                <a:gd name="T80" fmla="*/ 579 w 654"/>
                <a:gd name="T81" fmla="*/ 77 h 384"/>
                <a:gd name="T82" fmla="*/ 621 w 654"/>
                <a:gd name="T83" fmla="*/ 6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4" h="384">
                  <a:moveTo>
                    <a:pt x="654" y="61"/>
                  </a:moveTo>
                  <a:lnTo>
                    <a:pt x="643" y="67"/>
                  </a:lnTo>
                  <a:lnTo>
                    <a:pt x="639" y="84"/>
                  </a:lnTo>
                  <a:lnTo>
                    <a:pt x="652" y="96"/>
                  </a:lnTo>
                  <a:lnTo>
                    <a:pt x="637" y="107"/>
                  </a:lnTo>
                  <a:lnTo>
                    <a:pt x="650" y="115"/>
                  </a:lnTo>
                  <a:lnTo>
                    <a:pt x="633" y="123"/>
                  </a:lnTo>
                  <a:lnTo>
                    <a:pt x="618" y="136"/>
                  </a:lnTo>
                  <a:lnTo>
                    <a:pt x="608" y="136"/>
                  </a:lnTo>
                  <a:lnTo>
                    <a:pt x="604" y="153"/>
                  </a:lnTo>
                  <a:lnTo>
                    <a:pt x="566" y="153"/>
                  </a:lnTo>
                  <a:lnTo>
                    <a:pt x="533" y="169"/>
                  </a:lnTo>
                  <a:lnTo>
                    <a:pt x="531" y="184"/>
                  </a:lnTo>
                  <a:lnTo>
                    <a:pt x="502" y="184"/>
                  </a:lnTo>
                  <a:lnTo>
                    <a:pt x="468" y="215"/>
                  </a:lnTo>
                  <a:lnTo>
                    <a:pt x="454" y="217"/>
                  </a:lnTo>
                  <a:lnTo>
                    <a:pt x="458" y="209"/>
                  </a:lnTo>
                  <a:lnTo>
                    <a:pt x="446" y="205"/>
                  </a:lnTo>
                  <a:lnTo>
                    <a:pt x="414" y="236"/>
                  </a:lnTo>
                  <a:lnTo>
                    <a:pt x="416" y="255"/>
                  </a:lnTo>
                  <a:lnTo>
                    <a:pt x="400" y="261"/>
                  </a:lnTo>
                  <a:lnTo>
                    <a:pt x="400" y="280"/>
                  </a:lnTo>
                  <a:lnTo>
                    <a:pt x="379" y="288"/>
                  </a:lnTo>
                  <a:lnTo>
                    <a:pt x="373" y="307"/>
                  </a:lnTo>
                  <a:lnTo>
                    <a:pt x="375" y="321"/>
                  </a:lnTo>
                  <a:lnTo>
                    <a:pt x="373" y="325"/>
                  </a:lnTo>
                  <a:lnTo>
                    <a:pt x="368" y="340"/>
                  </a:lnTo>
                  <a:lnTo>
                    <a:pt x="350" y="359"/>
                  </a:lnTo>
                  <a:lnTo>
                    <a:pt x="352" y="369"/>
                  </a:lnTo>
                  <a:lnTo>
                    <a:pt x="345" y="373"/>
                  </a:lnTo>
                  <a:lnTo>
                    <a:pt x="337" y="384"/>
                  </a:lnTo>
                  <a:lnTo>
                    <a:pt x="312" y="382"/>
                  </a:lnTo>
                  <a:lnTo>
                    <a:pt x="275" y="361"/>
                  </a:lnTo>
                  <a:lnTo>
                    <a:pt x="258" y="355"/>
                  </a:lnTo>
                  <a:lnTo>
                    <a:pt x="248" y="367"/>
                  </a:lnTo>
                  <a:lnTo>
                    <a:pt x="241" y="363"/>
                  </a:lnTo>
                  <a:lnTo>
                    <a:pt x="233" y="359"/>
                  </a:lnTo>
                  <a:lnTo>
                    <a:pt x="227" y="369"/>
                  </a:lnTo>
                  <a:lnTo>
                    <a:pt x="212" y="361"/>
                  </a:lnTo>
                  <a:lnTo>
                    <a:pt x="202" y="367"/>
                  </a:lnTo>
                  <a:lnTo>
                    <a:pt x="181" y="350"/>
                  </a:lnTo>
                  <a:lnTo>
                    <a:pt x="170" y="355"/>
                  </a:lnTo>
                  <a:lnTo>
                    <a:pt x="160" y="348"/>
                  </a:lnTo>
                  <a:lnTo>
                    <a:pt x="162" y="334"/>
                  </a:lnTo>
                  <a:lnTo>
                    <a:pt x="150" y="325"/>
                  </a:lnTo>
                  <a:lnTo>
                    <a:pt x="143" y="332"/>
                  </a:lnTo>
                  <a:lnTo>
                    <a:pt x="139" y="330"/>
                  </a:lnTo>
                  <a:lnTo>
                    <a:pt x="135" y="334"/>
                  </a:lnTo>
                  <a:lnTo>
                    <a:pt x="118" y="328"/>
                  </a:lnTo>
                  <a:lnTo>
                    <a:pt x="112" y="340"/>
                  </a:lnTo>
                  <a:lnTo>
                    <a:pt x="118" y="344"/>
                  </a:lnTo>
                  <a:lnTo>
                    <a:pt x="118" y="353"/>
                  </a:lnTo>
                  <a:lnTo>
                    <a:pt x="114" y="357"/>
                  </a:lnTo>
                  <a:lnTo>
                    <a:pt x="95" y="359"/>
                  </a:lnTo>
                  <a:lnTo>
                    <a:pt x="89" y="367"/>
                  </a:lnTo>
                  <a:lnTo>
                    <a:pt x="81" y="367"/>
                  </a:lnTo>
                  <a:lnTo>
                    <a:pt x="72" y="353"/>
                  </a:lnTo>
                  <a:lnTo>
                    <a:pt x="60" y="363"/>
                  </a:lnTo>
                  <a:lnTo>
                    <a:pt x="54" y="359"/>
                  </a:lnTo>
                  <a:lnTo>
                    <a:pt x="39" y="348"/>
                  </a:lnTo>
                  <a:lnTo>
                    <a:pt x="27" y="353"/>
                  </a:lnTo>
                  <a:lnTo>
                    <a:pt x="25" y="365"/>
                  </a:lnTo>
                  <a:lnTo>
                    <a:pt x="14" y="375"/>
                  </a:lnTo>
                  <a:lnTo>
                    <a:pt x="8" y="371"/>
                  </a:lnTo>
                  <a:lnTo>
                    <a:pt x="10" y="363"/>
                  </a:lnTo>
                  <a:lnTo>
                    <a:pt x="10" y="342"/>
                  </a:lnTo>
                  <a:lnTo>
                    <a:pt x="0" y="334"/>
                  </a:lnTo>
                  <a:lnTo>
                    <a:pt x="2" y="323"/>
                  </a:lnTo>
                  <a:lnTo>
                    <a:pt x="8" y="313"/>
                  </a:lnTo>
                  <a:lnTo>
                    <a:pt x="12" y="300"/>
                  </a:lnTo>
                  <a:lnTo>
                    <a:pt x="25" y="300"/>
                  </a:lnTo>
                  <a:lnTo>
                    <a:pt x="27" y="284"/>
                  </a:lnTo>
                  <a:lnTo>
                    <a:pt x="35" y="271"/>
                  </a:lnTo>
                  <a:lnTo>
                    <a:pt x="27" y="265"/>
                  </a:lnTo>
                  <a:lnTo>
                    <a:pt x="31" y="267"/>
                  </a:lnTo>
                  <a:lnTo>
                    <a:pt x="54" y="259"/>
                  </a:lnTo>
                  <a:lnTo>
                    <a:pt x="64" y="267"/>
                  </a:lnTo>
                  <a:lnTo>
                    <a:pt x="85" y="244"/>
                  </a:lnTo>
                  <a:lnTo>
                    <a:pt x="77" y="236"/>
                  </a:lnTo>
                  <a:lnTo>
                    <a:pt x="127" y="192"/>
                  </a:lnTo>
                  <a:lnTo>
                    <a:pt x="116" y="178"/>
                  </a:lnTo>
                  <a:lnTo>
                    <a:pt x="97" y="175"/>
                  </a:lnTo>
                  <a:lnTo>
                    <a:pt x="87" y="182"/>
                  </a:lnTo>
                  <a:lnTo>
                    <a:pt x="77" y="192"/>
                  </a:lnTo>
                  <a:lnTo>
                    <a:pt x="58" y="186"/>
                  </a:lnTo>
                  <a:lnTo>
                    <a:pt x="56" y="173"/>
                  </a:lnTo>
                  <a:lnTo>
                    <a:pt x="64" y="163"/>
                  </a:lnTo>
                  <a:lnTo>
                    <a:pt x="70" y="148"/>
                  </a:lnTo>
                  <a:lnTo>
                    <a:pt x="89" y="146"/>
                  </a:lnTo>
                  <a:lnTo>
                    <a:pt x="89" y="134"/>
                  </a:lnTo>
                  <a:lnTo>
                    <a:pt x="83" y="125"/>
                  </a:lnTo>
                  <a:lnTo>
                    <a:pt x="83" y="117"/>
                  </a:lnTo>
                  <a:lnTo>
                    <a:pt x="95" y="109"/>
                  </a:lnTo>
                  <a:lnTo>
                    <a:pt x="97" y="86"/>
                  </a:lnTo>
                  <a:lnTo>
                    <a:pt x="85" y="75"/>
                  </a:lnTo>
                  <a:lnTo>
                    <a:pt x="83" y="55"/>
                  </a:lnTo>
                  <a:lnTo>
                    <a:pt x="89" y="55"/>
                  </a:lnTo>
                  <a:lnTo>
                    <a:pt x="104" y="61"/>
                  </a:lnTo>
                  <a:lnTo>
                    <a:pt x="122" y="73"/>
                  </a:lnTo>
                  <a:lnTo>
                    <a:pt x="143" y="84"/>
                  </a:lnTo>
                  <a:lnTo>
                    <a:pt x="152" y="102"/>
                  </a:lnTo>
                  <a:lnTo>
                    <a:pt x="173" y="94"/>
                  </a:lnTo>
                  <a:lnTo>
                    <a:pt x="202" y="111"/>
                  </a:lnTo>
                  <a:lnTo>
                    <a:pt x="216" y="94"/>
                  </a:lnTo>
                  <a:lnTo>
                    <a:pt x="208" y="80"/>
                  </a:lnTo>
                  <a:lnTo>
                    <a:pt x="212" y="65"/>
                  </a:lnTo>
                  <a:lnTo>
                    <a:pt x="202" y="46"/>
                  </a:lnTo>
                  <a:lnTo>
                    <a:pt x="214" y="25"/>
                  </a:lnTo>
                  <a:lnTo>
                    <a:pt x="227" y="7"/>
                  </a:lnTo>
                  <a:lnTo>
                    <a:pt x="302" y="9"/>
                  </a:lnTo>
                  <a:lnTo>
                    <a:pt x="308" y="0"/>
                  </a:lnTo>
                  <a:lnTo>
                    <a:pt x="335" y="2"/>
                  </a:lnTo>
                  <a:lnTo>
                    <a:pt x="348" y="17"/>
                  </a:lnTo>
                  <a:lnTo>
                    <a:pt x="364" y="21"/>
                  </a:lnTo>
                  <a:lnTo>
                    <a:pt x="395" y="44"/>
                  </a:lnTo>
                  <a:lnTo>
                    <a:pt x="412" y="50"/>
                  </a:lnTo>
                  <a:lnTo>
                    <a:pt x="425" y="65"/>
                  </a:lnTo>
                  <a:lnTo>
                    <a:pt x="452" y="69"/>
                  </a:lnTo>
                  <a:lnTo>
                    <a:pt x="500" y="102"/>
                  </a:lnTo>
                  <a:lnTo>
                    <a:pt x="518" y="102"/>
                  </a:lnTo>
                  <a:lnTo>
                    <a:pt x="527" y="109"/>
                  </a:lnTo>
                  <a:lnTo>
                    <a:pt x="560" y="100"/>
                  </a:lnTo>
                  <a:lnTo>
                    <a:pt x="579" y="77"/>
                  </a:lnTo>
                  <a:lnTo>
                    <a:pt x="600" y="82"/>
                  </a:lnTo>
                  <a:lnTo>
                    <a:pt x="606" y="67"/>
                  </a:lnTo>
                  <a:lnTo>
                    <a:pt x="621" y="65"/>
                  </a:lnTo>
                  <a:lnTo>
                    <a:pt x="637" y="52"/>
                  </a:lnTo>
                  <a:lnTo>
                    <a:pt x="654" y="61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3" name="Freeform 70"/>
            <p:cNvSpPr>
              <a:spLocks/>
            </p:cNvSpPr>
            <p:nvPr/>
          </p:nvSpPr>
          <p:spPr bwMode="auto">
            <a:xfrm>
              <a:off x="1294" y="2651"/>
              <a:ext cx="323" cy="381"/>
            </a:xfrm>
            <a:custGeom>
              <a:avLst/>
              <a:gdLst>
                <a:gd name="T0" fmla="*/ 0 w 155"/>
                <a:gd name="T1" fmla="*/ 98 h 183"/>
                <a:gd name="T2" fmla="*/ 32 w 155"/>
                <a:gd name="T3" fmla="*/ 98 h 183"/>
                <a:gd name="T4" fmla="*/ 55 w 155"/>
                <a:gd name="T5" fmla="*/ 94 h 183"/>
                <a:gd name="T6" fmla="*/ 60 w 155"/>
                <a:gd name="T7" fmla="*/ 81 h 183"/>
                <a:gd name="T8" fmla="*/ 61 w 155"/>
                <a:gd name="T9" fmla="*/ 62 h 183"/>
                <a:gd name="T10" fmla="*/ 71 w 155"/>
                <a:gd name="T11" fmla="*/ 59 h 183"/>
                <a:gd name="T12" fmla="*/ 77 w 155"/>
                <a:gd name="T13" fmla="*/ 49 h 183"/>
                <a:gd name="T14" fmla="*/ 81 w 155"/>
                <a:gd name="T15" fmla="*/ 41 h 183"/>
                <a:gd name="T16" fmla="*/ 83 w 155"/>
                <a:gd name="T17" fmla="*/ 36 h 183"/>
                <a:gd name="T18" fmla="*/ 91 w 155"/>
                <a:gd name="T19" fmla="*/ 30 h 183"/>
                <a:gd name="T20" fmla="*/ 101 w 155"/>
                <a:gd name="T21" fmla="*/ 21 h 183"/>
                <a:gd name="T22" fmla="*/ 108 w 155"/>
                <a:gd name="T23" fmla="*/ 22 h 183"/>
                <a:gd name="T24" fmla="*/ 120 w 155"/>
                <a:gd name="T25" fmla="*/ 0 h 183"/>
                <a:gd name="T26" fmla="*/ 135 w 155"/>
                <a:gd name="T27" fmla="*/ 12 h 183"/>
                <a:gd name="T28" fmla="*/ 133 w 155"/>
                <a:gd name="T29" fmla="*/ 23 h 183"/>
                <a:gd name="T30" fmla="*/ 137 w 155"/>
                <a:gd name="T31" fmla="*/ 28 h 183"/>
                <a:gd name="T32" fmla="*/ 152 w 155"/>
                <a:gd name="T33" fmla="*/ 33 h 183"/>
                <a:gd name="T34" fmla="*/ 151 w 155"/>
                <a:gd name="T35" fmla="*/ 43 h 183"/>
                <a:gd name="T36" fmla="*/ 151 w 155"/>
                <a:gd name="T37" fmla="*/ 58 h 183"/>
                <a:gd name="T38" fmla="*/ 140 w 155"/>
                <a:gd name="T39" fmla="*/ 65 h 183"/>
                <a:gd name="T40" fmla="*/ 133 w 155"/>
                <a:gd name="T41" fmla="*/ 70 h 183"/>
                <a:gd name="T42" fmla="*/ 126 w 155"/>
                <a:gd name="T43" fmla="*/ 85 h 183"/>
                <a:gd name="T44" fmla="*/ 121 w 155"/>
                <a:gd name="T45" fmla="*/ 93 h 183"/>
                <a:gd name="T46" fmla="*/ 126 w 155"/>
                <a:gd name="T47" fmla="*/ 103 h 183"/>
                <a:gd name="T48" fmla="*/ 125 w 155"/>
                <a:gd name="T49" fmla="*/ 113 h 183"/>
                <a:gd name="T50" fmla="*/ 126 w 155"/>
                <a:gd name="T51" fmla="*/ 116 h 183"/>
                <a:gd name="T52" fmla="*/ 118 w 155"/>
                <a:gd name="T53" fmla="*/ 124 h 183"/>
                <a:gd name="T54" fmla="*/ 109 w 155"/>
                <a:gd name="T55" fmla="*/ 120 h 183"/>
                <a:gd name="T56" fmla="*/ 110 w 155"/>
                <a:gd name="T57" fmla="*/ 130 h 183"/>
                <a:gd name="T58" fmla="*/ 101 w 155"/>
                <a:gd name="T59" fmla="*/ 137 h 183"/>
                <a:gd name="T60" fmla="*/ 102 w 155"/>
                <a:gd name="T61" fmla="*/ 147 h 183"/>
                <a:gd name="T62" fmla="*/ 108 w 155"/>
                <a:gd name="T63" fmla="*/ 152 h 183"/>
                <a:gd name="T64" fmla="*/ 105 w 155"/>
                <a:gd name="T65" fmla="*/ 157 h 183"/>
                <a:gd name="T66" fmla="*/ 98 w 155"/>
                <a:gd name="T67" fmla="*/ 161 h 183"/>
                <a:gd name="T68" fmla="*/ 99 w 155"/>
                <a:gd name="T69" fmla="*/ 170 h 183"/>
                <a:gd name="T70" fmla="*/ 86 w 155"/>
                <a:gd name="T71" fmla="*/ 179 h 183"/>
                <a:gd name="T72" fmla="*/ 82 w 155"/>
                <a:gd name="T73" fmla="*/ 171 h 183"/>
                <a:gd name="T74" fmla="*/ 74 w 155"/>
                <a:gd name="T75" fmla="*/ 170 h 183"/>
                <a:gd name="T76" fmla="*/ 69 w 155"/>
                <a:gd name="T77" fmla="*/ 171 h 183"/>
                <a:gd name="T78" fmla="*/ 65 w 155"/>
                <a:gd name="T79" fmla="*/ 167 h 183"/>
                <a:gd name="T80" fmla="*/ 56 w 155"/>
                <a:gd name="T81" fmla="*/ 169 h 183"/>
                <a:gd name="T82" fmla="*/ 50 w 155"/>
                <a:gd name="T83" fmla="*/ 173 h 183"/>
                <a:gd name="T84" fmla="*/ 45 w 155"/>
                <a:gd name="T85" fmla="*/ 171 h 183"/>
                <a:gd name="T86" fmla="*/ 41 w 155"/>
                <a:gd name="T87" fmla="*/ 178 h 183"/>
                <a:gd name="T88" fmla="*/ 32 w 155"/>
                <a:gd name="T89" fmla="*/ 183 h 183"/>
                <a:gd name="T90" fmla="*/ 24 w 155"/>
                <a:gd name="T91" fmla="*/ 160 h 183"/>
                <a:gd name="T92" fmla="*/ 15 w 155"/>
                <a:gd name="T93" fmla="*/ 156 h 183"/>
                <a:gd name="T94" fmla="*/ 0 w 155"/>
                <a:gd name="T95" fmla="*/ 111 h 183"/>
                <a:gd name="T96" fmla="*/ 0 w 155"/>
                <a:gd name="T97" fmla="*/ 98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5" h="183">
                  <a:moveTo>
                    <a:pt x="0" y="98"/>
                  </a:moveTo>
                  <a:cubicBezTo>
                    <a:pt x="32" y="98"/>
                    <a:pt x="32" y="98"/>
                    <a:pt x="32" y="98"/>
                  </a:cubicBezTo>
                  <a:cubicBezTo>
                    <a:pt x="43" y="98"/>
                    <a:pt x="47" y="95"/>
                    <a:pt x="55" y="94"/>
                  </a:cubicBezTo>
                  <a:cubicBezTo>
                    <a:pt x="62" y="93"/>
                    <a:pt x="59" y="87"/>
                    <a:pt x="60" y="81"/>
                  </a:cubicBezTo>
                  <a:cubicBezTo>
                    <a:pt x="60" y="75"/>
                    <a:pt x="61" y="65"/>
                    <a:pt x="61" y="62"/>
                  </a:cubicBezTo>
                  <a:cubicBezTo>
                    <a:pt x="61" y="59"/>
                    <a:pt x="65" y="59"/>
                    <a:pt x="71" y="59"/>
                  </a:cubicBezTo>
                  <a:cubicBezTo>
                    <a:pt x="77" y="59"/>
                    <a:pt x="77" y="56"/>
                    <a:pt x="77" y="49"/>
                  </a:cubicBezTo>
                  <a:cubicBezTo>
                    <a:pt x="77" y="42"/>
                    <a:pt x="77" y="41"/>
                    <a:pt x="81" y="41"/>
                  </a:cubicBezTo>
                  <a:cubicBezTo>
                    <a:pt x="86" y="42"/>
                    <a:pt x="84" y="40"/>
                    <a:pt x="83" y="36"/>
                  </a:cubicBezTo>
                  <a:cubicBezTo>
                    <a:pt x="83" y="33"/>
                    <a:pt x="89" y="33"/>
                    <a:pt x="91" y="30"/>
                  </a:cubicBezTo>
                  <a:cubicBezTo>
                    <a:pt x="93" y="28"/>
                    <a:pt x="98" y="23"/>
                    <a:pt x="101" y="21"/>
                  </a:cubicBezTo>
                  <a:cubicBezTo>
                    <a:pt x="105" y="19"/>
                    <a:pt x="106" y="23"/>
                    <a:pt x="108" y="22"/>
                  </a:cubicBezTo>
                  <a:cubicBezTo>
                    <a:pt x="109" y="21"/>
                    <a:pt x="115" y="9"/>
                    <a:pt x="120" y="0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52" y="33"/>
                    <a:pt x="152" y="33"/>
                    <a:pt x="152" y="33"/>
                  </a:cubicBezTo>
                  <a:cubicBezTo>
                    <a:pt x="150" y="37"/>
                    <a:pt x="148" y="35"/>
                    <a:pt x="151" y="43"/>
                  </a:cubicBezTo>
                  <a:cubicBezTo>
                    <a:pt x="155" y="53"/>
                    <a:pt x="153" y="56"/>
                    <a:pt x="151" y="58"/>
                  </a:cubicBezTo>
                  <a:cubicBezTo>
                    <a:pt x="149" y="60"/>
                    <a:pt x="143" y="65"/>
                    <a:pt x="140" y="65"/>
                  </a:cubicBezTo>
                  <a:cubicBezTo>
                    <a:pt x="137" y="66"/>
                    <a:pt x="133" y="66"/>
                    <a:pt x="133" y="70"/>
                  </a:cubicBezTo>
                  <a:cubicBezTo>
                    <a:pt x="133" y="75"/>
                    <a:pt x="130" y="83"/>
                    <a:pt x="126" y="85"/>
                  </a:cubicBezTo>
                  <a:cubicBezTo>
                    <a:pt x="121" y="87"/>
                    <a:pt x="122" y="91"/>
                    <a:pt x="121" y="93"/>
                  </a:cubicBezTo>
                  <a:cubicBezTo>
                    <a:pt x="120" y="95"/>
                    <a:pt x="126" y="98"/>
                    <a:pt x="126" y="103"/>
                  </a:cubicBezTo>
                  <a:cubicBezTo>
                    <a:pt x="126" y="107"/>
                    <a:pt x="124" y="109"/>
                    <a:pt x="125" y="113"/>
                  </a:cubicBezTo>
                  <a:cubicBezTo>
                    <a:pt x="125" y="115"/>
                    <a:pt x="125" y="115"/>
                    <a:pt x="126" y="116"/>
                  </a:cubicBezTo>
                  <a:cubicBezTo>
                    <a:pt x="118" y="124"/>
                    <a:pt x="118" y="124"/>
                    <a:pt x="118" y="124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10" y="130"/>
                    <a:pt x="110" y="130"/>
                    <a:pt x="110" y="130"/>
                  </a:cubicBezTo>
                  <a:cubicBezTo>
                    <a:pt x="101" y="137"/>
                    <a:pt x="101" y="137"/>
                    <a:pt x="101" y="137"/>
                  </a:cubicBezTo>
                  <a:cubicBezTo>
                    <a:pt x="102" y="147"/>
                    <a:pt x="102" y="147"/>
                    <a:pt x="102" y="147"/>
                  </a:cubicBezTo>
                  <a:cubicBezTo>
                    <a:pt x="108" y="152"/>
                    <a:pt x="108" y="152"/>
                    <a:pt x="108" y="152"/>
                  </a:cubicBezTo>
                  <a:cubicBezTo>
                    <a:pt x="105" y="157"/>
                    <a:pt x="105" y="157"/>
                    <a:pt x="105" y="157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99" y="170"/>
                    <a:pt x="99" y="170"/>
                    <a:pt x="99" y="170"/>
                  </a:cubicBezTo>
                  <a:cubicBezTo>
                    <a:pt x="86" y="179"/>
                    <a:pt x="86" y="179"/>
                    <a:pt x="86" y="179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74" y="170"/>
                    <a:pt x="74" y="170"/>
                    <a:pt x="74" y="170"/>
                  </a:cubicBezTo>
                  <a:cubicBezTo>
                    <a:pt x="69" y="171"/>
                    <a:pt x="69" y="171"/>
                    <a:pt x="69" y="171"/>
                  </a:cubicBezTo>
                  <a:cubicBezTo>
                    <a:pt x="65" y="167"/>
                    <a:pt x="65" y="167"/>
                    <a:pt x="65" y="167"/>
                  </a:cubicBezTo>
                  <a:cubicBezTo>
                    <a:pt x="56" y="169"/>
                    <a:pt x="56" y="169"/>
                    <a:pt x="56" y="169"/>
                  </a:cubicBezTo>
                  <a:cubicBezTo>
                    <a:pt x="50" y="173"/>
                    <a:pt x="50" y="173"/>
                    <a:pt x="50" y="173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41" y="178"/>
                    <a:pt x="41" y="178"/>
                    <a:pt x="41" y="178"/>
                  </a:cubicBezTo>
                  <a:cubicBezTo>
                    <a:pt x="32" y="183"/>
                    <a:pt x="32" y="183"/>
                    <a:pt x="32" y="183"/>
                  </a:cubicBezTo>
                  <a:cubicBezTo>
                    <a:pt x="24" y="160"/>
                    <a:pt x="24" y="160"/>
                    <a:pt x="24" y="160"/>
                  </a:cubicBezTo>
                  <a:cubicBezTo>
                    <a:pt x="15" y="156"/>
                    <a:pt x="15" y="156"/>
                    <a:pt x="15" y="156"/>
                  </a:cubicBezTo>
                  <a:cubicBezTo>
                    <a:pt x="0" y="111"/>
                    <a:pt x="0" y="111"/>
                    <a:pt x="0" y="111"/>
                  </a:cubicBezTo>
                  <a:lnTo>
                    <a:pt x="0" y="98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4" name="Freeform 71"/>
            <p:cNvSpPr>
              <a:spLocks/>
            </p:cNvSpPr>
            <p:nvPr/>
          </p:nvSpPr>
          <p:spPr bwMode="auto">
            <a:xfrm>
              <a:off x="827" y="3905"/>
              <a:ext cx="89" cy="77"/>
            </a:xfrm>
            <a:custGeom>
              <a:avLst/>
              <a:gdLst>
                <a:gd name="T0" fmla="*/ 34 w 43"/>
                <a:gd name="T1" fmla="*/ 2 h 37"/>
                <a:gd name="T2" fmla="*/ 36 w 43"/>
                <a:gd name="T3" fmla="*/ 3 h 37"/>
                <a:gd name="T4" fmla="*/ 37 w 43"/>
                <a:gd name="T5" fmla="*/ 6 h 37"/>
                <a:gd name="T6" fmla="*/ 39 w 43"/>
                <a:gd name="T7" fmla="*/ 11 h 37"/>
                <a:gd name="T8" fmla="*/ 43 w 43"/>
                <a:gd name="T9" fmla="*/ 17 h 37"/>
                <a:gd name="T10" fmla="*/ 37 w 43"/>
                <a:gd name="T11" fmla="*/ 19 h 37"/>
                <a:gd name="T12" fmla="*/ 37 w 43"/>
                <a:gd name="T13" fmla="*/ 22 h 37"/>
                <a:gd name="T14" fmla="*/ 40 w 43"/>
                <a:gd name="T15" fmla="*/ 26 h 37"/>
                <a:gd name="T16" fmla="*/ 39 w 43"/>
                <a:gd name="T17" fmla="*/ 30 h 37"/>
                <a:gd name="T18" fmla="*/ 38 w 43"/>
                <a:gd name="T19" fmla="*/ 32 h 37"/>
                <a:gd name="T20" fmla="*/ 37 w 43"/>
                <a:gd name="T21" fmla="*/ 32 h 37"/>
                <a:gd name="T22" fmla="*/ 29 w 43"/>
                <a:gd name="T23" fmla="*/ 35 h 37"/>
                <a:gd name="T24" fmla="*/ 24 w 43"/>
                <a:gd name="T25" fmla="*/ 37 h 37"/>
                <a:gd name="T26" fmla="*/ 24 w 43"/>
                <a:gd name="T27" fmla="*/ 37 h 37"/>
                <a:gd name="T28" fmla="*/ 14 w 43"/>
                <a:gd name="T29" fmla="*/ 31 h 37"/>
                <a:gd name="T30" fmla="*/ 5 w 43"/>
                <a:gd name="T31" fmla="*/ 15 h 37"/>
                <a:gd name="T32" fmla="*/ 0 w 43"/>
                <a:gd name="T33" fmla="*/ 8 h 37"/>
                <a:gd name="T34" fmla="*/ 2 w 43"/>
                <a:gd name="T35" fmla="*/ 7 h 37"/>
                <a:gd name="T36" fmla="*/ 8 w 43"/>
                <a:gd name="T37" fmla="*/ 4 h 37"/>
                <a:gd name="T38" fmla="*/ 15 w 43"/>
                <a:gd name="T39" fmla="*/ 0 h 37"/>
                <a:gd name="T40" fmla="*/ 20 w 43"/>
                <a:gd name="T41" fmla="*/ 6 h 37"/>
                <a:gd name="T42" fmla="*/ 28 w 43"/>
                <a:gd name="T43" fmla="*/ 8 h 37"/>
                <a:gd name="T44" fmla="*/ 33 w 43"/>
                <a:gd name="T45" fmla="*/ 3 h 37"/>
                <a:gd name="T46" fmla="*/ 34 w 43"/>
                <a:gd name="T47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37">
                  <a:moveTo>
                    <a:pt x="34" y="2"/>
                  </a:moveTo>
                  <a:cubicBezTo>
                    <a:pt x="36" y="3"/>
                    <a:pt x="36" y="3"/>
                    <a:pt x="36" y="3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37" y="18"/>
                    <a:pt x="37" y="19"/>
                  </a:cubicBezTo>
                  <a:cubicBezTo>
                    <a:pt x="36" y="20"/>
                    <a:pt x="37" y="22"/>
                    <a:pt x="37" y="22"/>
                  </a:cubicBezTo>
                  <a:cubicBezTo>
                    <a:pt x="37" y="22"/>
                    <a:pt x="40" y="26"/>
                    <a:pt x="40" y="26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7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1" y="34"/>
                    <a:pt x="17" y="34"/>
                    <a:pt x="14" y="31"/>
                  </a:cubicBezTo>
                  <a:cubicBezTo>
                    <a:pt x="11" y="28"/>
                    <a:pt x="7" y="22"/>
                    <a:pt x="5" y="15"/>
                  </a:cubicBezTo>
                  <a:cubicBezTo>
                    <a:pt x="4" y="12"/>
                    <a:pt x="2" y="10"/>
                    <a:pt x="0" y="8"/>
                  </a:cubicBezTo>
                  <a:cubicBezTo>
                    <a:pt x="1" y="8"/>
                    <a:pt x="1" y="7"/>
                    <a:pt x="2" y="7"/>
                  </a:cubicBezTo>
                  <a:cubicBezTo>
                    <a:pt x="3" y="5"/>
                    <a:pt x="7" y="4"/>
                    <a:pt x="8" y="4"/>
                  </a:cubicBezTo>
                  <a:cubicBezTo>
                    <a:pt x="9" y="3"/>
                    <a:pt x="13" y="1"/>
                    <a:pt x="15" y="0"/>
                  </a:cubicBezTo>
                  <a:cubicBezTo>
                    <a:pt x="17" y="0"/>
                    <a:pt x="19" y="5"/>
                    <a:pt x="20" y="6"/>
                  </a:cubicBezTo>
                  <a:cubicBezTo>
                    <a:pt x="21" y="8"/>
                    <a:pt x="26" y="8"/>
                    <a:pt x="28" y="8"/>
                  </a:cubicBezTo>
                  <a:cubicBezTo>
                    <a:pt x="29" y="8"/>
                    <a:pt x="32" y="6"/>
                    <a:pt x="33" y="3"/>
                  </a:cubicBezTo>
                  <a:cubicBezTo>
                    <a:pt x="34" y="3"/>
                    <a:pt x="34" y="2"/>
                    <a:pt x="34" y="2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5" name="Freeform 72"/>
            <p:cNvSpPr>
              <a:spLocks/>
            </p:cNvSpPr>
            <p:nvPr/>
          </p:nvSpPr>
          <p:spPr bwMode="auto">
            <a:xfrm>
              <a:off x="877" y="3972"/>
              <a:ext cx="89" cy="63"/>
            </a:xfrm>
            <a:custGeom>
              <a:avLst/>
              <a:gdLst>
                <a:gd name="T0" fmla="*/ 0 w 43"/>
                <a:gd name="T1" fmla="*/ 5 h 30"/>
                <a:gd name="T2" fmla="*/ 5 w 43"/>
                <a:gd name="T3" fmla="*/ 3 h 30"/>
                <a:gd name="T4" fmla="*/ 13 w 43"/>
                <a:gd name="T5" fmla="*/ 0 h 30"/>
                <a:gd name="T6" fmla="*/ 16 w 43"/>
                <a:gd name="T7" fmla="*/ 0 h 30"/>
                <a:gd name="T8" fmla="*/ 22 w 43"/>
                <a:gd name="T9" fmla="*/ 1 h 30"/>
                <a:gd name="T10" fmla="*/ 26 w 43"/>
                <a:gd name="T11" fmla="*/ 3 h 30"/>
                <a:gd name="T12" fmla="*/ 32 w 43"/>
                <a:gd name="T13" fmla="*/ 12 h 30"/>
                <a:gd name="T14" fmla="*/ 37 w 43"/>
                <a:gd name="T15" fmla="*/ 11 h 30"/>
                <a:gd name="T16" fmla="*/ 43 w 43"/>
                <a:gd name="T17" fmla="*/ 15 h 30"/>
                <a:gd name="T18" fmla="*/ 43 w 43"/>
                <a:gd name="T19" fmla="*/ 19 h 30"/>
                <a:gd name="T20" fmla="*/ 43 w 43"/>
                <a:gd name="T21" fmla="*/ 20 h 30"/>
                <a:gd name="T22" fmla="*/ 42 w 43"/>
                <a:gd name="T23" fmla="*/ 20 h 30"/>
                <a:gd name="T24" fmla="*/ 38 w 43"/>
                <a:gd name="T25" fmla="*/ 21 h 30"/>
                <a:gd name="T26" fmla="*/ 38 w 43"/>
                <a:gd name="T27" fmla="*/ 27 h 30"/>
                <a:gd name="T28" fmla="*/ 35 w 43"/>
                <a:gd name="T29" fmla="*/ 27 h 30"/>
                <a:gd name="T30" fmla="*/ 29 w 43"/>
                <a:gd name="T31" fmla="*/ 30 h 30"/>
                <a:gd name="T32" fmla="*/ 26 w 43"/>
                <a:gd name="T33" fmla="*/ 28 h 30"/>
                <a:gd name="T34" fmla="*/ 20 w 43"/>
                <a:gd name="T35" fmla="*/ 27 h 30"/>
                <a:gd name="T36" fmla="*/ 12 w 43"/>
                <a:gd name="T37" fmla="*/ 29 h 30"/>
                <a:gd name="T38" fmla="*/ 11 w 43"/>
                <a:gd name="T39" fmla="*/ 26 h 30"/>
                <a:gd name="T40" fmla="*/ 10 w 43"/>
                <a:gd name="T41" fmla="*/ 18 h 30"/>
                <a:gd name="T42" fmla="*/ 0 w 43"/>
                <a:gd name="T43" fmla="*/ 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30">
                  <a:moveTo>
                    <a:pt x="0" y="5"/>
                  </a:moveTo>
                  <a:cubicBezTo>
                    <a:pt x="3" y="4"/>
                    <a:pt x="5" y="3"/>
                    <a:pt x="5" y="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8"/>
                    <a:pt x="11" y="27"/>
                    <a:pt x="11" y="26"/>
                  </a:cubicBezTo>
                  <a:cubicBezTo>
                    <a:pt x="8" y="23"/>
                    <a:pt x="8" y="22"/>
                    <a:pt x="10" y="18"/>
                  </a:cubicBezTo>
                  <a:cubicBezTo>
                    <a:pt x="11" y="13"/>
                    <a:pt x="2" y="9"/>
                    <a:pt x="0" y="5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6" name="Freeform 73"/>
            <p:cNvSpPr>
              <a:spLocks/>
            </p:cNvSpPr>
            <p:nvPr/>
          </p:nvSpPr>
          <p:spPr bwMode="auto">
            <a:xfrm>
              <a:off x="902" y="4014"/>
              <a:ext cx="77" cy="62"/>
            </a:xfrm>
            <a:custGeom>
              <a:avLst/>
              <a:gdLst>
                <a:gd name="T0" fmla="*/ 0 w 37"/>
                <a:gd name="T1" fmla="*/ 9 h 30"/>
                <a:gd name="T2" fmla="*/ 8 w 37"/>
                <a:gd name="T3" fmla="*/ 7 h 30"/>
                <a:gd name="T4" fmla="*/ 14 w 37"/>
                <a:gd name="T5" fmla="*/ 8 h 30"/>
                <a:gd name="T6" fmla="*/ 17 w 37"/>
                <a:gd name="T7" fmla="*/ 10 h 30"/>
                <a:gd name="T8" fmla="*/ 23 w 37"/>
                <a:gd name="T9" fmla="*/ 7 h 30"/>
                <a:gd name="T10" fmla="*/ 26 w 37"/>
                <a:gd name="T11" fmla="*/ 7 h 30"/>
                <a:gd name="T12" fmla="*/ 26 w 37"/>
                <a:gd name="T13" fmla="*/ 1 h 30"/>
                <a:gd name="T14" fmla="*/ 30 w 37"/>
                <a:gd name="T15" fmla="*/ 0 h 30"/>
                <a:gd name="T16" fmla="*/ 34 w 37"/>
                <a:gd name="T17" fmla="*/ 2 h 30"/>
                <a:gd name="T18" fmla="*/ 37 w 37"/>
                <a:gd name="T19" fmla="*/ 5 h 30"/>
                <a:gd name="T20" fmla="*/ 37 w 37"/>
                <a:gd name="T21" fmla="*/ 11 h 30"/>
                <a:gd name="T22" fmla="*/ 32 w 37"/>
                <a:gd name="T23" fmla="*/ 12 h 30"/>
                <a:gd name="T24" fmla="*/ 32 w 37"/>
                <a:gd name="T25" fmla="*/ 13 h 30"/>
                <a:gd name="T26" fmla="*/ 27 w 37"/>
                <a:gd name="T27" fmla="*/ 11 h 30"/>
                <a:gd name="T28" fmla="*/ 25 w 37"/>
                <a:gd name="T29" fmla="*/ 17 h 30"/>
                <a:gd name="T30" fmla="*/ 25 w 37"/>
                <a:gd name="T31" fmla="*/ 24 h 30"/>
                <a:gd name="T32" fmla="*/ 23 w 37"/>
                <a:gd name="T33" fmla="*/ 28 h 30"/>
                <a:gd name="T34" fmla="*/ 20 w 37"/>
                <a:gd name="T35" fmla="*/ 30 h 30"/>
                <a:gd name="T36" fmla="*/ 15 w 37"/>
                <a:gd name="T37" fmla="*/ 26 h 30"/>
                <a:gd name="T38" fmla="*/ 3 w 37"/>
                <a:gd name="T39" fmla="*/ 22 h 30"/>
                <a:gd name="T40" fmla="*/ 4 w 37"/>
                <a:gd name="T41" fmla="*/ 15 h 30"/>
                <a:gd name="T42" fmla="*/ 0 w 37"/>
                <a:gd name="T43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0">
                  <a:moveTo>
                    <a:pt x="0" y="9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5" y="11"/>
                    <a:pt x="32" y="11"/>
                    <a:pt x="32" y="12"/>
                  </a:cubicBezTo>
                  <a:cubicBezTo>
                    <a:pt x="32" y="12"/>
                    <a:pt x="32" y="13"/>
                    <a:pt x="32" y="13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5" y="16"/>
                    <a:pt x="25" y="17"/>
                  </a:cubicBezTo>
                  <a:cubicBezTo>
                    <a:pt x="25" y="18"/>
                    <a:pt x="25" y="24"/>
                    <a:pt x="25" y="24"/>
                  </a:cubicBezTo>
                  <a:cubicBezTo>
                    <a:pt x="25" y="24"/>
                    <a:pt x="24" y="28"/>
                    <a:pt x="23" y="28"/>
                  </a:cubicBezTo>
                  <a:cubicBezTo>
                    <a:pt x="23" y="28"/>
                    <a:pt x="21" y="29"/>
                    <a:pt x="20" y="30"/>
                  </a:cubicBezTo>
                  <a:cubicBezTo>
                    <a:pt x="18" y="28"/>
                    <a:pt x="16" y="27"/>
                    <a:pt x="15" y="26"/>
                  </a:cubicBezTo>
                  <a:cubicBezTo>
                    <a:pt x="12" y="24"/>
                    <a:pt x="5" y="25"/>
                    <a:pt x="3" y="22"/>
                  </a:cubicBezTo>
                  <a:cubicBezTo>
                    <a:pt x="2" y="19"/>
                    <a:pt x="3" y="18"/>
                    <a:pt x="4" y="15"/>
                  </a:cubicBezTo>
                  <a:cubicBezTo>
                    <a:pt x="4" y="13"/>
                    <a:pt x="2" y="11"/>
                    <a:pt x="0" y="9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7" name="Freeform 74"/>
            <p:cNvSpPr>
              <a:spLocks/>
            </p:cNvSpPr>
            <p:nvPr/>
          </p:nvSpPr>
          <p:spPr bwMode="auto">
            <a:xfrm>
              <a:off x="943" y="4037"/>
              <a:ext cx="40" cy="64"/>
            </a:xfrm>
            <a:custGeom>
              <a:avLst/>
              <a:gdLst>
                <a:gd name="T0" fmla="*/ 12 w 19"/>
                <a:gd name="T1" fmla="*/ 2 h 31"/>
                <a:gd name="T2" fmla="*/ 7 w 19"/>
                <a:gd name="T3" fmla="*/ 0 h 31"/>
                <a:gd name="T4" fmla="*/ 5 w 19"/>
                <a:gd name="T5" fmla="*/ 6 h 31"/>
                <a:gd name="T6" fmla="*/ 5 w 19"/>
                <a:gd name="T7" fmla="*/ 13 h 31"/>
                <a:gd name="T8" fmla="*/ 3 w 19"/>
                <a:gd name="T9" fmla="*/ 17 h 31"/>
                <a:gd name="T10" fmla="*/ 0 w 19"/>
                <a:gd name="T11" fmla="*/ 19 h 31"/>
                <a:gd name="T12" fmla="*/ 1 w 19"/>
                <a:gd name="T13" fmla="*/ 20 h 31"/>
                <a:gd name="T14" fmla="*/ 5 w 19"/>
                <a:gd name="T15" fmla="*/ 31 h 31"/>
                <a:gd name="T16" fmla="*/ 14 w 19"/>
                <a:gd name="T17" fmla="*/ 24 h 31"/>
                <a:gd name="T18" fmla="*/ 19 w 19"/>
                <a:gd name="T19" fmla="*/ 10 h 31"/>
                <a:gd name="T20" fmla="*/ 12 w 19"/>
                <a:gd name="T21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31">
                  <a:moveTo>
                    <a:pt x="12" y="2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5" y="5"/>
                    <a:pt x="5" y="6"/>
                  </a:cubicBezTo>
                  <a:cubicBezTo>
                    <a:pt x="5" y="7"/>
                    <a:pt x="5" y="13"/>
                    <a:pt x="5" y="13"/>
                  </a:cubicBezTo>
                  <a:cubicBezTo>
                    <a:pt x="5" y="13"/>
                    <a:pt x="4" y="17"/>
                    <a:pt x="3" y="17"/>
                  </a:cubicBezTo>
                  <a:cubicBezTo>
                    <a:pt x="3" y="17"/>
                    <a:pt x="1" y="18"/>
                    <a:pt x="0" y="19"/>
                  </a:cubicBezTo>
                  <a:cubicBezTo>
                    <a:pt x="0" y="19"/>
                    <a:pt x="1" y="20"/>
                    <a:pt x="1" y="20"/>
                  </a:cubicBezTo>
                  <a:cubicBezTo>
                    <a:pt x="2" y="22"/>
                    <a:pt x="4" y="26"/>
                    <a:pt x="5" y="31"/>
                  </a:cubicBezTo>
                  <a:cubicBezTo>
                    <a:pt x="9" y="29"/>
                    <a:pt x="13" y="26"/>
                    <a:pt x="14" y="24"/>
                  </a:cubicBezTo>
                  <a:cubicBezTo>
                    <a:pt x="15" y="19"/>
                    <a:pt x="19" y="10"/>
                    <a:pt x="19" y="10"/>
                  </a:cubicBezTo>
                  <a:cubicBezTo>
                    <a:pt x="19" y="10"/>
                    <a:pt x="13" y="4"/>
                    <a:pt x="12" y="2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8" name="Freeform 75"/>
            <p:cNvSpPr>
              <a:spLocks/>
            </p:cNvSpPr>
            <p:nvPr/>
          </p:nvSpPr>
          <p:spPr bwMode="auto">
            <a:xfrm>
              <a:off x="956" y="3995"/>
              <a:ext cx="131" cy="246"/>
            </a:xfrm>
            <a:custGeom>
              <a:avLst/>
              <a:gdLst>
                <a:gd name="T0" fmla="*/ 0 w 63"/>
                <a:gd name="T1" fmla="*/ 65 h 118"/>
                <a:gd name="T2" fmla="*/ 7 w 63"/>
                <a:gd name="T3" fmla="*/ 61 h 118"/>
                <a:gd name="T4" fmla="*/ 17 w 63"/>
                <a:gd name="T5" fmla="*/ 58 h 118"/>
                <a:gd name="T6" fmla="*/ 21 w 63"/>
                <a:gd name="T7" fmla="*/ 55 h 118"/>
                <a:gd name="T8" fmla="*/ 26 w 63"/>
                <a:gd name="T9" fmla="*/ 60 h 118"/>
                <a:gd name="T10" fmla="*/ 29 w 63"/>
                <a:gd name="T11" fmla="*/ 50 h 118"/>
                <a:gd name="T12" fmla="*/ 44 w 63"/>
                <a:gd name="T13" fmla="*/ 40 h 118"/>
                <a:gd name="T14" fmla="*/ 44 w 63"/>
                <a:gd name="T15" fmla="*/ 31 h 118"/>
                <a:gd name="T16" fmla="*/ 37 w 63"/>
                <a:gd name="T17" fmla="*/ 31 h 118"/>
                <a:gd name="T18" fmla="*/ 34 w 63"/>
                <a:gd name="T19" fmla="*/ 27 h 118"/>
                <a:gd name="T20" fmla="*/ 28 w 63"/>
                <a:gd name="T21" fmla="*/ 21 h 118"/>
                <a:gd name="T22" fmla="*/ 29 w 63"/>
                <a:gd name="T23" fmla="*/ 17 h 118"/>
                <a:gd name="T24" fmla="*/ 28 w 63"/>
                <a:gd name="T25" fmla="*/ 11 h 118"/>
                <a:gd name="T26" fmla="*/ 33 w 63"/>
                <a:gd name="T27" fmla="*/ 10 h 118"/>
                <a:gd name="T28" fmla="*/ 35 w 63"/>
                <a:gd name="T29" fmla="*/ 3 h 118"/>
                <a:gd name="T30" fmla="*/ 43 w 63"/>
                <a:gd name="T31" fmla="*/ 4 h 118"/>
                <a:gd name="T32" fmla="*/ 49 w 63"/>
                <a:gd name="T33" fmla="*/ 0 h 118"/>
                <a:gd name="T34" fmla="*/ 60 w 63"/>
                <a:gd name="T35" fmla="*/ 8 h 118"/>
                <a:gd name="T36" fmla="*/ 61 w 63"/>
                <a:gd name="T37" fmla="*/ 14 h 118"/>
                <a:gd name="T38" fmla="*/ 62 w 63"/>
                <a:gd name="T39" fmla="*/ 17 h 118"/>
                <a:gd name="T40" fmla="*/ 60 w 63"/>
                <a:gd name="T41" fmla="*/ 24 h 118"/>
                <a:gd name="T42" fmla="*/ 61 w 63"/>
                <a:gd name="T43" fmla="*/ 43 h 118"/>
                <a:gd name="T44" fmla="*/ 57 w 63"/>
                <a:gd name="T45" fmla="*/ 52 h 118"/>
                <a:gd name="T46" fmla="*/ 49 w 63"/>
                <a:gd name="T47" fmla="*/ 68 h 118"/>
                <a:gd name="T48" fmla="*/ 45 w 63"/>
                <a:gd name="T49" fmla="*/ 83 h 118"/>
                <a:gd name="T50" fmla="*/ 48 w 63"/>
                <a:gd name="T51" fmla="*/ 102 h 118"/>
                <a:gd name="T52" fmla="*/ 49 w 63"/>
                <a:gd name="T53" fmla="*/ 112 h 118"/>
                <a:gd name="T54" fmla="*/ 41 w 63"/>
                <a:gd name="T55" fmla="*/ 113 h 118"/>
                <a:gd name="T56" fmla="*/ 29 w 63"/>
                <a:gd name="T57" fmla="*/ 115 h 118"/>
                <a:gd name="T58" fmla="*/ 18 w 63"/>
                <a:gd name="T59" fmla="*/ 111 h 118"/>
                <a:gd name="T60" fmla="*/ 14 w 63"/>
                <a:gd name="T61" fmla="*/ 97 h 118"/>
                <a:gd name="T62" fmla="*/ 12 w 63"/>
                <a:gd name="T63" fmla="*/ 84 h 118"/>
                <a:gd name="T64" fmla="*/ 2 w 63"/>
                <a:gd name="T65" fmla="*/ 70 h 118"/>
                <a:gd name="T66" fmla="*/ 0 w 63"/>
                <a:gd name="T67" fmla="*/ 6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" h="118">
                  <a:moveTo>
                    <a:pt x="0" y="65"/>
                  </a:moveTo>
                  <a:cubicBezTo>
                    <a:pt x="2" y="63"/>
                    <a:pt x="4" y="61"/>
                    <a:pt x="7" y="61"/>
                  </a:cubicBezTo>
                  <a:cubicBezTo>
                    <a:pt x="14" y="60"/>
                    <a:pt x="16" y="58"/>
                    <a:pt x="17" y="58"/>
                  </a:cubicBezTo>
                  <a:cubicBezTo>
                    <a:pt x="17" y="57"/>
                    <a:pt x="21" y="55"/>
                    <a:pt x="21" y="55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7" y="54"/>
                    <a:pt x="29" y="50"/>
                  </a:cubicBezTo>
                  <a:cubicBezTo>
                    <a:pt x="32" y="46"/>
                    <a:pt x="44" y="40"/>
                    <a:pt x="44" y="40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1"/>
                    <a:pt x="36" y="29"/>
                    <a:pt x="34" y="27"/>
                  </a:cubicBezTo>
                  <a:cubicBezTo>
                    <a:pt x="32" y="25"/>
                    <a:pt x="28" y="21"/>
                    <a:pt x="28" y="21"/>
                  </a:cubicBezTo>
                  <a:cubicBezTo>
                    <a:pt x="28" y="21"/>
                    <a:pt x="31" y="19"/>
                    <a:pt x="29" y="17"/>
                  </a:cubicBezTo>
                  <a:cubicBezTo>
                    <a:pt x="28" y="14"/>
                    <a:pt x="27" y="11"/>
                    <a:pt x="28" y="11"/>
                  </a:cubicBezTo>
                  <a:cubicBezTo>
                    <a:pt x="29" y="11"/>
                    <a:pt x="33" y="11"/>
                    <a:pt x="33" y="10"/>
                  </a:cubicBezTo>
                  <a:cubicBezTo>
                    <a:pt x="33" y="8"/>
                    <a:pt x="34" y="3"/>
                    <a:pt x="35" y="3"/>
                  </a:cubicBezTo>
                  <a:cubicBezTo>
                    <a:pt x="37" y="3"/>
                    <a:pt x="40" y="6"/>
                    <a:pt x="43" y="4"/>
                  </a:cubicBezTo>
                  <a:cubicBezTo>
                    <a:pt x="44" y="3"/>
                    <a:pt x="46" y="1"/>
                    <a:pt x="49" y="0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0" y="19"/>
                    <a:pt x="60" y="20"/>
                    <a:pt x="60" y="24"/>
                  </a:cubicBezTo>
                  <a:cubicBezTo>
                    <a:pt x="61" y="29"/>
                    <a:pt x="62" y="39"/>
                    <a:pt x="61" y="43"/>
                  </a:cubicBezTo>
                  <a:cubicBezTo>
                    <a:pt x="61" y="48"/>
                    <a:pt x="63" y="48"/>
                    <a:pt x="57" y="52"/>
                  </a:cubicBezTo>
                  <a:cubicBezTo>
                    <a:pt x="50" y="56"/>
                    <a:pt x="49" y="63"/>
                    <a:pt x="49" y="68"/>
                  </a:cubicBezTo>
                  <a:cubicBezTo>
                    <a:pt x="49" y="73"/>
                    <a:pt x="45" y="78"/>
                    <a:pt x="45" y="83"/>
                  </a:cubicBezTo>
                  <a:cubicBezTo>
                    <a:pt x="45" y="87"/>
                    <a:pt x="48" y="95"/>
                    <a:pt x="48" y="102"/>
                  </a:cubicBezTo>
                  <a:cubicBezTo>
                    <a:pt x="48" y="106"/>
                    <a:pt x="49" y="109"/>
                    <a:pt x="49" y="112"/>
                  </a:cubicBezTo>
                  <a:cubicBezTo>
                    <a:pt x="46" y="113"/>
                    <a:pt x="43" y="113"/>
                    <a:pt x="41" y="113"/>
                  </a:cubicBezTo>
                  <a:cubicBezTo>
                    <a:pt x="35" y="113"/>
                    <a:pt x="31" y="113"/>
                    <a:pt x="29" y="115"/>
                  </a:cubicBezTo>
                  <a:cubicBezTo>
                    <a:pt x="26" y="118"/>
                    <a:pt x="20" y="114"/>
                    <a:pt x="18" y="111"/>
                  </a:cubicBezTo>
                  <a:cubicBezTo>
                    <a:pt x="16" y="107"/>
                    <a:pt x="14" y="100"/>
                    <a:pt x="14" y="97"/>
                  </a:cubicBezTo>
                  <a:cubicBezTo>
                    <a:pt x="14" y="94"/>
                    <a:pt x="13" y="88"/>
                    <a:pt x="12" y="84"/>
                  </a:cubicBezTo>
                  <a:cubicBezTo>
                    <a:pt x="12" y="80"/>
                    <a:pt x="3" y="74"/>
                    <a:pt x="2" y="70"/>
                  </a:cubicBezTo>
                  <a:cubicBezTo>
                    <a:pt x="1" y="68"/>
                    <a:pt x="0" y="67"/>
                    <a:pt x="0" y="65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9" name="Freeform 76"/>
            <p:cNvSpPr>
              <a:spLocks/>
            </p:cNvSpPr>
            <p:nvPr/>
          </p:nvSpPr>
          <p:spPr bwMode="auto">
            <a:xfrm>
              <a:off x="954" y="4026"/>
              <a:ext cx="94" cy="104"/>
            </a:xfrm>
            <a:custGeom>
              <a:avLst/>
              <a:gdLst>
                <a:gd name="T0" fmla="*/ 0 w 45"/>
                <a:gd name="T1" fmla="*/ 36 h 50"/>
                <a:gd name="T2" fmla="*/ 9 w 45"/>
                <a:gd name="T3" fmla="*/ 29 h 50"/>
                <a:gd name="T4" fmla="*/ 14 w 45"/>
                <a:gd name="T5" fmla="*/ 15 h 50"/>
                <a:gd name="T6" fmla="*/ 7 w 45"/>
                <a:gd name="T7" fmla="*/ 6 h 50"/>
                <a:gd name="T8" fmla="*/ 14 w 45"/>
                <a:gd name="T9" fmla="*/ 5 h 50"/>
                <a:gd name="T10" fmla="*/ 18 w 45"/>
                <a:gd name="T11" fmla="*/ 0 h 50"/>
                <a:gd name="T12" fmla="*/ 24 w 45"/>
                <a:gd name="T13" fmla="*/ 6 h 50"/>
                <a:gd name="T14" fmla="*/ 29 w 45"/>
                <a:gd name="T15" fmla="*/ 6 h 50"/>
                <a:gd name="T16" fmla="*/ 35 w 45"/>
                <a:gd name="T17" fmla="*/ 12 h 50"/>
                <a:gd name="T18" fmla="*/ 38 w 45"/>
                <a:gd name="T19" fmla="*/ 16 h 50"/>
                <a:gd name="T20" fmla="*/ 45 w 45"/>
                <a:gd name="T21" fmla="*/ 16 h 50"/>
                <a:gd name="T22" fmla="*/ 45 w 45"/>
                <a:gd name="T23" fmla="*/ 25 h 50"/>
                <a:gd name="T24" fmla="*/ 30 w 45"/>
                <a:gd name="T25" fmla="*/ 35 h 50"/>
                <a:gd name="T26" fmla="*/ 27 w 45"/>
                <a:gd name="T27" fmla="*/ 45 h 50"/>
                <a:gd name="T28" fmla="*/ 22 w 45"/>
                <a:gd name="T29" fmla="*/ 40 h 50"/>
                <a:gd name="T30" fmla="*/ 18 w 45"/>
                <a:gd name="T31" fmla="*/ 43 h 50"/>
                <a:gd name="T32" fmla="*/ 8 w 45"/>
                <a:gd name="T33" fmla="*/ 46 h 50"/>
                <a:gd name="T34" fmla="*/ 1 w 45"/>
                <a:gd name="T35" fmla="*/ 50 h 50"/>
                <a:gd name="T36" fmla="*/ 1 w 45"/>
                <a:gd name="T37" fmla="*/ 43 h 50"/>
                <a:gd name="T38" fmla="*/ 0 w 45"/>
                <a:gd name="T39" fmla="*/ 3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50">
                  <a:moveTo>
                    <a:pt x="0" y="36"/>
                  </a:moveTo>
                  <a:cubicBezTo>
                    <a:pt x="4" y="34"/>
                    <a:pt x="8" y="31"/>
                    <a:pt x="9" y="29"/>
                  </a:cubicBezTo>
                  <a:cubicBezTo>
                    <a:pt x="10" y="24"/>
                    <a:pt x="14" y="15"/>
                    <a:pt x="14" y="15"/>
                  </a:cubicBezTo>
                  <a:cubicBezTo>
                    <a:pt x="14" y="15"/>
                    <a:pt x="7" y="8"/>
                    <a:pt x="7" y="6"/>
                  </a:cubicBezTo>
                  <a:cubicBezTo>
                    <a:pt x="7" y="4"/>
                    <a:pt x="13" y="6"/>
                    <a:pt x="14" y="5"/>
                  </a:cubicBezTo>
                  <a:cubicBezTo>
                    <a:pt x="15" y="4"/>
                    <a:pt x="18" y="0"/>
                    <a:pt x="18" y="0"/>
                  </a:cubicBezTo>
                  <a:cubicBezTo>
                    <a:pt x="18" y="0"/>
                    <a:pt x="23" y="6"/>
                    <a:pt x="24" y="6"/>
                  </a:cubicBezTo>
                  <a:cubicBezTo>
                    <a:pt x="24" y="6"/>
                    <a:pt x="26" y="6"/>
                    <a:pt x="29" y="6"/>
                  </a:cubicBezTo>
                  <a:cubicBezTo>
                    <a:pt x="30" y="7"/>
                    <a:pt x="33" y="10"/>
                    <a:pt x="35" y="12"/>
                  </a:cubicBezTo>
                  <a:cubicBezTo>
                    <a:pt x="37" y="14"/>
                    <a:pt x="38" y="16"/>
                    <a:pt x="38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33" y="31"/>
                    <a:pt x="30" y="35"/>
                  </a:cubicBezTo>
                  <a:cubicBezTo>
                    <a:pt x="28" y="39"/>
                    <a:pt x="27" y="45"/>
                    <a:pt x="27" y="45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40"/>
                    <a:pt x="18" y="42"/>
                    <a:pt x="18" y="43"/>
                  </a:cubicBezTo>
                  <a:cubicBezTo>
                    <a:pt x="17" y="43"/>
                    <a:pt x="15" y="45"/>
                    <a:pt x="8" y="46"/>
                  </a:cubicBezTo>
                  <a:cubicBezTo>
                    <a:pt x="5" y="46"/>
                    <a:pt x="3" y="48"/>
                    <a:pt x="1" y="50"/>
                  </a:cubicBezTo>
                  <a:cubicBezTo>
                    <a:pt x="1" y="48"/>
                    <a:pt x="1" y="46"/>
                    <a:pt x="1" y="43"/>
                  </a:cubicBezTo>
                  <a:cubicBezTo>
                    <a:pt x="1" y="41"/>
                    <a:pt x="1" y="38"/>
                    <a:pt x="0" y="3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0" name="Freeform 77"/>
            <p:cNvSpPr>
              <a:spLocks/>
            </p:cNvSpPr>
            <p:nvPr/>
          </p:nvSpPr>
          <p:spPr bwMode="auto">
            <a:xfrm>
              <a:off x="954" y="3795"/>
              <a:ext cx="231" cy="235"/>
            </a:xfrm>
            <a:custGeom>
              <a:avLst/>
              <a:gdLst>
                <a:gd name="T0" fmla="*/ 86 w 111"/>
                <a:gd name="T1" fmla="*/ 105 h 113"/>
                <a:gd name="T2" fmla="*/ 63 w 111"/>
                <a:gd name="T3" fmla="*/ 113 h 113"/>
                <a:gd name="T4" fmla="*/ 61 w 111"/>
                <a:gd name="T5" fmla="*/ 104 h 113"/>
                <a:gd name="T6" fmla="*/ 49 w 111"/>
                <a:gd name="T7" fmla="*/ 86 h 113"/>
                <a:gd name="T8" fmla="*/ 42 w 111"/>
                <a:gd name="T9" fmla="*/ 70 h 113"/>
                <a:gd name="T10" fmla="*/ 35 w 111"/>
                <a:gd name="T11" fmla="*/ 49 h 113"/>
                <a:gd name="T12" fmla="*/ 24 w 111"/>
                <a:gd name="T13" fmla="*/ 32 h 113"/>
                <a:gd name="T14" fmla="*/ 9 w 111"/>
                <a:gd name="T15" fmla="*/ 25 h 113"/>
                <a:gd name="T16" fmla="*/ 0 w 111"/>
                <a:gd name="T17" fmla="*/ 18 h 113"/>
                <a:gd name="T18" fmla="*/ 10 w 111"/>
                <a:gd name="T19" fmla="*/ 17 h 113"/>
                <a:gd name="T20" fmla="*/ 22 w 111"/>
                <a:gd name="T21" fmla="*/ 13 h 113"/>
                <a:gd name="T22" fmla="*/ 30 w 111"/>
                <a:gd name="T23" fmla="*/ 24 h 113"/>
                <a:gd name="T24" fmla="*/ 43 w 111"/>
                <a:gd name="T25" fmla="*/ 38 h 113"/>
                <a:gd name="T26" fmla="*/ 55 w 111"/>
                <a:gd name="T27" fmla="*/ 31 h 113"/>
                <a:gd name="T28" fmla="*/ 69 w 111"/>
                <a:gd name="T29" fmla="*/ 18 h 113"/>
                <a:gd name="T30" fmla="*/ 60 w 111"/>
                <a:gd name="T31" fmla="*/ 16 h 113"/>
                <a:gd name="T32" fmla="*/ 64 w 111"/>
                <a:gd name="T33" fmla="*/ 5 h 113"/>
                <a:gd name="T34" fmla="*/ 75 w 111"/>
                <a:gd name="T35" fmla="*/ 7 h 113"/>
                <a:gd name="T36" fmla="*/ 81 w 111"/>
                <a:gd name="T37" fmla="*/ 5 h 113"/>
                <a:gd name="T38" fmla="*/ 86 w 111"/>
                <a:gd name="T39" fmla="*/ 1 h 113"/>
                <a:gd name="T40" fmla="*/ 91 w 111"/>
                <a:gd name="T41" fmla="*/ 11 h 113"/>
                <a:gd name="T42" fmla="*/ 99 w 111"/>
                <a:gd name="T43" fmla="*/ 21 h 113"/>
                <a:gd name="T44" fmla="*/ 99 w 111"/>
                <a:gd name="T45" fmla="*/ 30 h 113"/>
                <a:gd name="T46" fmla="*/ 104 w 111"/>
                <a:gd name="T47" fmla="*/ 45 h 113"/>
                <a:gd name="T48" fmla="*/ 110 w 111"/>
                <a:gd name="T49" fmla="*/ 50 h 113"/>
                <a:gd name="T50" fmla="*/ 105 w 111"/>
                <a:gd name="T51" fmla="*/ 59 h 113"/>
                <a:gd name="T52" fmla="*/ 104 w 111"/>
                <a:gd name="T53" fmla="*/ 64 h 113"/>
                <a:gd name="T54" fmla="*/ 104 w 111"/>
                <a:gd name="T55" fmla="*/ 70 h 113"/>
                <a:gd name="T56" fmla="*/ 97 w 111"/>
                <a:gd name="T57" fmla="*/ 73 h 113"/>
                <a:gd name="T58" fmla="*/ 89 w 111"/>
                <a:gd name="T59" fmla="*/ 72 h 113"/>
                <a:gd name="T60" fmla="*/ 91 w 111"/>
                <a:gd name="T61" fmla="*/ 82 h 113"/>
                <a:gd name="T62" fmla="*/ 92 w 111"/>
                <a:gd name="T63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1" h="113">
                  <a:moveTo>
                    <a:pt x="92" y="99"/>
                  </a:moveTo>
                  <a:cubicBezTo>
                    <a:pt x="88" y="100"/>
                    <a:pt x="86" y="105"/>
                    <a:pt x="86" y="105"/>
                  </a:cubicBezTo>
                  <a:cubicBezTo>
                    <a:pt x="79" y="106"/>
                    <a:pt x="74" y="110"/>
                    <a:pt x="68" y="111"/>
                  </a:cubicBezTo>
                  <a:cubicBezTo>
                    <a:pt x="66" y="112"/>
                    <a:pt x="64" y="112"/>
                    <a:pt x="63" y="113"/>
                  </a:cubicBezTo>
                  <a:cubicBezTo>
                    <a:pt x="62" y="110"/>
                    <a:pt x="62" y="110"/>
                    <a:pt x="62" y="110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50" y="95"/>
                    <a:pt x="50" y="88"/>
                    <a:pt x="49" y="86"/>
                  </a:cubicBezTo>
                  <a:cubicBezTo>
                    <a:pt x="49" y="85"/>
                    <a:pt x="47" y="82"/>
                    <a:pt x="47" y="79"/>
                  </a:cubicBezTo>
                  <a:cubicBezTo>
                    <a:pt x="47" y="76"/>
                    <a:pt x="43" y="75"/>
                    <a:pt x="42" y="70"/>
                  </a:cubicBezTo>
                  <a:cubicBezTo>
                    <a:pt x="41" y="65"/>
                    <a:pt x="34" y="63"/>
                    <a:pt x="34" y="59"/>
                  </a:cubicBezTo>
                  <a:cubicBezTo>
                    <a:pt x="35" y="56"/>
                    <a:pt x="38" y="52"/>
                    <a:pt x="35" y="49"/>
                  </a:cubicBezTo>
                  <a:cubicBezTo>
                    <a:pt x="32" y="45"/>
                    <a:pt x="31" y="48"/>
                    <a:pt x="29" y="42"/>
                  </a:cubicBezTo>
                  <a:cubicBezTo>
                    <a:pt x="27" y="36"/>
                    <a:pt x="27" y="34"/>
                    <a:pt x="24" y="32"/>
                  </a:cubicBezTo>
                  <a:cubicBezTo>
                    <a:pt x="22" y="31"/>
                    <a:pt x="18" y="33"/>
                    <a:pt x="15" y="31"/>
                  </a:cubicBezTo>
                  <a:cubicBezTo>
                    <a:pt x="13" y="28"/>
                    <a:pt x="12" y="25"/>
                    <a:pt x="9" y="25"/>
                  </a:cubicBezTo>
                  <a:cubicBezTo>
                    <a:pt x="6" y="26"/>
                    <a:pt x="5" y="27"/>
                    <a:pt x="3" y="22"/>
                  </a:cubicBezTo>
                  <a:cubicBezTo>
                    <a:pt x="2" y="21"/>
                    <a:pt x="1" y="19"/>
                    <a:pt x="0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7" y="16"/>
                    <a:pt x="10" y="17"/>
                  </a:cubicBezTo>
                  <a:cubicBezTo>
                    <a:pt x="13" y="17"/>
                    <a:pt x="17" y="18"/>
                    <a:pt x="17" y="15"/>
                  </a:cubicBezTo>
                  <a:cubicBezTo>
                    <a:pt x="17" y="13"/>
                    <a:pt x="22" y="10"/>
                    <a:pt x="22" y="13"/>
                  </a:cubicBezTo>
                  <a:cubicBezTo>
                    <a:pt x="22" y="16"/>
                    <a:pt x="22" y="20"/>
                    <a:pt x="23" y="21"/>
                  </a:cubicBezTo>
                  <a:cubicBezTo>
                    <a:pt x="23" y="22"/>
                    <a:pt x="30" y="21"/>
                    <a:pt x="30" y="24"/>
                  </a:cubicBezTo>
                  <a:cubicBezTo>
                    <a:pt x="31" y="27"/>
                    <a:pt x="31" y="34"/>
                    <a:pt x="34" y="36"/>
                  </a:cubicBezTo>
                  <a:cubicBezTo>
                    <a:pt x="37" y="39"/>
                    <a:pt x="39" y="39"/>
                    <a:pt x="43" y="38"/>
                  </a:cubicBezTo>
                  <a:cubicBezTo>
                    <a:pt x="46" y="37"/>
                    <a:pt x="47" y="35"/>
                    <a:pt x="48" y="33"/>
                  </a:cubicBezTo>
                  <a:cubicBezTo>
                    <a:pt x="49" y="31"/>
                    <a:pt x="49" y="30"/>
                    <a:pt x="55" y="31"/>
                  </a:cubicBezTo>
                  <a:cubicBezTo>
                    <a:pt x="61" y="33"/>
                    <a:pt x="62" y="29"/>
                    <a:pt x="65" y="26"/>
                  </a:cubicBezTo>
                  <a:cubicBezTo>
                    <a:pt x="68" y="23"/>
                    <a:pt x="69" y="20"/>
                    <a:pt x="69" y="18"/>
                  </a:cubicBezTo>
                  <a:cubicBezTo>
                    <a:pt x="69" y="15"/>
                    <a:pt x="67" y="16"/>
                    <a:pt x="64" y="17"/>
                  </a:cubicBezTo>
                  <a:cubicBezTo>
                    <a:pt x="61" y="18"/>
                    <a:pt x="59" y="18"/>
                    <a:pt x="60" y="16"/>
                  </a:cubicBezTo>
                  <a:cubicBezTo>
                    <a:pt x="60" y="14"/>
                    <a:pt x="60" y="11"/>
                    <a:pt x="59" y="10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91" y="11"/>
                    <a:pt x="91" y="11"/>
                    <a:pt x="91" y="11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0" y="50"/>
                    <a:pt x="110" y="50"/>
                    <a:pt x="110" y="50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4" y="62"/>
                    <a:pt x="104" y="62"/>
                    <a:pt x="104" y="6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6" y="66"/>
                    <a:pt x="106" y="66"/>
                    <a:pt x="106" y="66"/>
                  </a:cubicBezTo>
                  <a:cubicBezTo>
                    <a:pt x="104" y="70"/>
                    <a:pt x="104" y="70"/>
                    <a:pt x="104" y="70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2" y="71"/>
                    <a:pt x="92" y="71"/>
                    <a:pt x="92" y="71"/>
                  </a:cubicBezTo>
                  <a:cubicBezTo>
                    <a:pt x="89" y="72"/>
                    <a:pt x="89" y="72"/>
                    <a:pt x="89" y="72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91" y="82"/>
                    <a:pt x="91" y="82"/>
                    <a:pt x="91" y="82"/>
                  </a:cubicBezTo>
                  <a:cubicBezTo>
                    <a:pt x="92" y="86"/>
                    <a:pt x="92" y="86"/>
                    <a:pt x="92" y="86"/>
                  </a:cubicBezTo>
                  <a:lnTo>
                    <a:pt x="92" y="99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1" name="Freeform 78"/>
            <p:cNvSpPr>
              <a:spLocks/>
            </p:cNvSpPr>
            <p:nvPr/>
          </p:nvSpPr>
          <p:spPr bwMode="auto">
            <a:xfrm>
              <a:off x="812" y="3801"/>
              <a:ext cx="65" cy="100"/>
            </a:xfrm>
            <a:custGeom>
              <a:avLst/>
              <a:gdLst>
                <a:gd name="T0" fmla="*/ 4 w 31"/>
                <a:gd name="T1" fmla="*/ 0 h 48"/>
                <a:gd name="T2" fmla="*/ 5 w 31"/>
                <a:gd name="T3" fmla="*/ 9 h 48"/>
                <a:gd name="T4" fmla="*/ 12 w 31"/>
                <a:gd name="T5" fmla="*/ 14 h 48"/>
                <a:gd name="T6" fmla="*/ 20 w 31"/>
                <a:gd name="T7" fmla="*/ 18 h 48"/>
                <a:gd name="T8" fmla="*/ 14 w 31"/>
                <a:gd name="T9" fmla="*/ 23 h 48"/>
                <a:gd name="T10" fmla="*/ 12 w 31"/>
                <a:gd name="T11" fmla="*/ 31 h 48"/>
                <a:gd name="T12" fmla="*/ 10 w 31"/>
                <a:gd name="T13" fmla="*/ 37 h 48"/>
                <a:gd name="T14" fmla="*/ 0 w 31"/>
                <a:gd name="T15" fmla="*/ 38 h 48"/>
                <a:gd name="T16" fmla="*/ 6 w 31"/>
                <a:gd name="T17" fmla="*/ 48 h 48"/>
                <a:gd name="T18" fmla="*/ 15 w 31"/>
                <a:gd name="T19" fmla="*/ 41 h 48"/>
                <a:gd name="T20" fmla="*/ 26 w 31"/>
                <a:gd name="T21" fmla="*/ 32 h 48"/>
                <a:gd name="T22" fmla="*/ 30 w 31"/>
                <a:gd name="T23" fmla="*/ 26 h 48"/>
                <a:gd name="T24" fmla="*/ 26 w 31"/>
                <a:gd name="T25" fmla="*/ 14 h 48"/>
                <a:gd name="T26" fmla="*/ 19 w 31"/>
                <a:gd name="T27" fmla="*/ 7 h 48"/>
                <a:gd name="T28" fmla="*/ 10 w 31"/>
                <a:gd name="T29" fmla="*/ 2 h 48"/>
                <a:gd name="T30" fmla="*/ 4 w 31"/>
                <a:gd name="T3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8">
                  <a:moveTo>
                    <a:pt x="4" y="0"/>
                  </a:moveTo>
                  <a:cubicBezTo>
                    <a:pt x="3" y="6"/>
                    <a:pt x="4" y="7"/>
                    <a:pt x="5" y="9"/>
                  </a:cubicBezTo>
                  <a:cubicBezTo>
                    <a:pt x="6" y="12"/>
                    <a:pt x="8" y="13"/>
                    <a:pt x="12" y="14"/>
                  </a:cubicBezTo>
                  <a:cubicBezTo>
                    <a:pt x="16" y="15"/>
                    <a:pt x="21" y="14"/>
                    <a:pt x="20" y="18"/>
                  </a:cubicBezTo>
                  <a:cubicBezTo>
                    <a:pt x="19" y="22"/>
                    <a:pt x="17" y="20"/>
                    <a:pt x="14" y="23"/>
                  </a:cubicBezTo>
                  <a:cubicBezTo>
                    <a:pt x="12" y="26"/>
                    <a:pt x="12" y="30"/>
                    <a:pt x="12" y="31"/>
                  </a:cubicBezTo>
                  <a:cubicBezTo>
                    <a:pt x="13" y="32"/>
                    <a:pt x="15" y="37"/>
                    <a:pt x="10" y="37"/>
                  </a:cubicBezTo>
                  <a:cubicBezTo>
                    <a:pt x="5" y="37"/>
                    <a:pt x="0" y="35"/>
                    <a:pt x="0" y="38"/>
                  </a:cubicBezTo>
                  <a:cubicBezTo>
                    <a:pt x="0" y="40"/>
                    <a:pt x="6" y="48"/>
                    <a:pt x="6" y="48"/>
                  </a:cubicBezTo>
                  <a:cubicBezTo>
                    <a:pt x="6" y="48"/>
                    <a:pt x="13" y="45"/>
                    <a:pt x="15" y="41"/>
                  </a:cubicBezTo>
                  <a:cubicBezTo>
                    <a:pt x="17" y="36"/>
                    <a:pt x="25" y="28"/>
                    <a:pt x="26" y="32"/>
                  </a:cubicBezTo>
                  <a:cubicBezTo>
                    <a:pt x="27" y="35"/>
                    <a:pt x="30" y="31"/>
                    <a:pt x="30" y="26"/>
                  </a:cubicBezTo>
                  <a:cubicBezTo>
                    <a:pt x="31" y="20"/>
                    <a:pt x="31" y="19"/>
                    <a:pt x="26" y="14"/>
                  </a:cubicBezTo>
                  <a:cubicBezTo>
                    <a:pt x="21" y="9"/>
                    <a:pt x="25" y="8"/>
                    <a:pt x="19" y="7"/>
                  </a:cubicBezTo>
                  <a:cubicBezTo>
                    <a:pt x="14" y="6"/>
                    <a:pt x="10" y="4"/>
                    <a:pt x="10" y="2"/>
                  </a:cubicBezTo>
                  <a:cubicBezTo>
                    <a:pt x="10" y="0"/>
                    <a:pt x="4" y="0"/>
                    <a:pt x="4" y="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2" name="Freeform 79"/>
            <p:cNvSpPr>
              <a:spLocks/>
            </p:cNvSpPr>
            <p:nvPr/>
          </p:nvSpPr>
          <p:spPr bwMode="auto">
            <a:xfrm>
              <a:off x="1615" y="3584"/>
              <a:ext cx="241" cy="319"/>
            </a:xfrm>
            <a:custGeom>
              <a:avLst/>
              <a:gdLst>
                <a:gd name="T0" fmla="*/ 100 w 116"/>
                <a:gd name="T1" fmla="*/ 37 h 153"/>
                <a:gd name="T2" fmla="*/ 110 w 116"/>
                <a:gd name="T3" fmla="*/ 45 h 153"/>
                <a:gd name="T4" fmla="*/ 116 w 116"/>
                <a:gd name="T5" fmla="*/ 49 h 153"/>
                <a:gd name="T6" fmla="*/ 110 w 116"/>
                <a:gd name="T7" fmla="*/ 62 h 153"/>
                <a:gd name="T8" fmla="*/ 99 w 116"/>
                <a:gd name="T9" fmla="*/ 69 h 153"/>
                <a:gd name="T10" fmla="*/ 92 w 116"/>
                <a:gd name="T11" fmla="*/ 61 h 153"/>
                <a:gd name="T12" fmla="*/ 80 w 116"/>
                <a:gd name="T13" fmla="*/ 53 h 153"/>
                <a:gd name="T14" fmla="*/ 70 w 116"/>
                <a:gd name="T15" fmla="*/ 60 h 153"/>
                <a:gd name="T16" fmla="*/ 74 w 116"/>
                <a:gd name="T17" fmla="*/ 77 h 153"/>
                <a:gd name="T18" fmla="*/ 84 w 116"/>
                <a:gd name="T19" fmla="*/ 85 h 153"/>
                <a:gd name="T20" fmla="*/ 91 w 116"/>
                <a:gd name="T21" fmla="*/ 83 h 153"/>
                <a:gd name="T22" fmla="*/ 101 w 116"/>
                <a:gd name="T23" fmla="*/ 88 h 153"/>
                <a:gd name="T24" fmla="*/ 102 w 116"/>
                <a:gd name="T25" fmla="*/ 100 h 153"/>
                <a:gd name="T26" fmla="*/ 94 w 116"/>
                <a:gd name="T27" fmla="*/ 95 h 153"/>
                <a:gd name="T28" fmla="*/ 86 w 116"/>
                <a:gd name="T29" fmla="*/ 100 h 153"/>
                <a:gd name="T30" fmla="*/ 78 w 116"/>
                <a:gd name="T31" fmla="*/ 113 h 153"/>
                <a:gd name="T32" fmla="*/ 73 w 116"/>
                <a:gd name="T33" fmla="*/ 123 h 153"/>
                <a:gd name="T34" fmla="*/ 67 w 116"/>
                <a:gd name="T35" fmla="*/ 131 h 153"/>
                <a:gd name="T36" fmla="*/ 59 w 116"/>
                <a:gd name="T37" fmla="*/ 141 h 153"/>
                <a:gd name="T38" fmla="*/ 48 w 116"/>
                <a:gd name="T39" fmla="*/ 153 h 153"/>
                <a:gd name="T40" fmla="*/ 33 w 116"/>
                <a:gd name="T41" fmla="*/ 149 h 153"/>
                <a:gd name="T42" fmla="*/ 23 w 116"/>
                <a:gd name="T43" fmla="*/ 143 h 153"/>
                <a:gd name="T44" fmla="*/ 21 w 116"/>
                <a:gd name="T45" fmla="*/ 135 h 153"/>
                <a:gd name="T46" fmla="*/ 19 w 116"/>
                <a:gd name="T47" fmla="*/ 128 h 153"/>
                <a:gd name="T48" fmla="*/ 27 w 116"/>
                <a:gd name="T49" fmla="*/ 121 h 153"/>
                <a:gd name="T50" fmla="*/ 21 w 116"/>
                <a:gd name="T51" fmla="*/ 115 h 153"/>
                <a:gd name="T52" fmla="*/ 12 w 116"/>
                <a:gd name="T53" fmla="*/ 114 h 153"/>
                <a:gd name="T54" fmla="*/ 15 w 116"/>
                <a:gd name="T55" fmla="*/ 103 h 153"/>
                <a:gd name="T56" fmla="*/ 13 w 116"/>
                <a:gd name="T57" fmla="*/ 88 h 153"/>
                <a:gd name="T58" fmla="*/ 1 w 116"/>
                <a:gd name="T59" fmla="*/ 73 h 153"/>
                <a:gd name="T60" fmla="*/ 4 w 116"/>
                <a:gd name="T61" fmla="*/ 66 h 153"/>
                <a:gd name="T62" fmla="*/ 0 w 116"/>
                <a:gd name="T63" fmla="*/ 52 h 153"/>
                <a:gd name="T64" fmla="*/ 6 w 116"/>
                <a:gd name="T65" fmla="*/ 41 h 153"/>
                <a:gd name="T66" fmla="*/ 17 w 116"/>
                <a:gd name="T67" fmla="*/ 35 h 153"/>
                <a:gd name="T68" fmla="*/ 24 w 116"/>
                <a:gd name="T69" fmla="*/ 24 h 153"/>
                <a:gd name="T70" fmla="*/ 36 w 116"/>
                <a:gd name="T71" fmla="*/ 17 h 153"/>
                <a:gd name="T72" fmla="*/ 33 w 116"/>
                <a:gd name="T73" fmla="*/ 9 h 153"/>
                <a:gd name="T74" fmla="*/ 56 w 116"/>
                <a:gd name="T75" fmla="*/ 0 h 153"/>
                <a:gd name="T76" fmla="*/ 63 w 116"/>
                <a:gd name="T77" fmla="*/ 10 h 153"/>
                <a:gd name="T78" fmla="*/ 72 w 116"/>
                <a:gd name="T79" fmla="*/ 16 h 153"/>
                <a:gd name="T80" fmla="*/ 81 w 116"/>
                <a:gd name="T81" fmla="*/ 2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6" h="153">
                  <a:moveTo>
                    <a:pt x="90" y="27"/>
                  </a:moveTo>
                  <a:cubicBezTo>
                    <a:pt x="100" y="37"/>
                    <a:pt x="100" y="37"/>
                    <a:pt x="100" y="37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49"/>
                    <a:pt x="116" y="49"/>
                    <a:pt x="116" y="49"/>
                  </a:cubicBezTo>
                  <a:cubicBezTo>
                    <a:pt x="116" y="49"/>
                    <a:pt x="113" y="55"/>
                    <a:pt x="112" y="56"/>
                  </a:cubicBezTo>
                  <a:cubicBezTo>
                    <a:pt x="112" y="56"/>
                    <a:pt x="110" y="62"/>
                    <a:pt x="110" y="62"/>
                  </a:cubicBezTo>
                  <a:cubicBezTo>
                    <a:pt x="102" y="64"/>
                    <a:pt x="102" y="64"/>
                    <a:pt x="102" y="64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4" y="69"/>
                    <a:pt x="74" y="69"/>
                    <a:pt x="74" y="69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84" y="85"/>
                    <a:pt x="84" y="85"/>
                    <a:pt x="84" y="85"/>
                  </a:cubicBezTo>
                  <a:cubicBezTo>
                    <a:pt x="89" y="85"/>
                    <a:pt x="89" y="85"/>
                    <a:pt x="89" y="85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4" y="95"/>
                    <a:pt x="94" y="95"/>
                    <a:pt x="94" y="95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79" y="106"/>
                    <a:pt x="79" y="106"/>
                    <a:pt x="79" y="106"/>
                  </a:cubicBezTo>
                  <a:cubicBezTo>
                    <a:pt x="78" y="113"/>
                    <a:pt x="78" y="113"/>
                    <a:pt x="78" y="113"/>
                  </a:cubicBezTo>
                  <a:cubicBezTo>
                    <a:pt x="73" y="119"/>
                    <a:pt x="73" y="119"/>
                    <a:pt x="73" y="119"/>
                  </a:cubicBezTo>
                  <a:cubicBezTo>
                    <a:pt x="73" y="123"/>
                    <a:pt x="73" y="123"/>
                    <a:pt x="73" y="123"/>
                  </a:cubicBezTo>
                  <a:cubicBezTo>
                    <a:pt x="70" y="123"/>
                    <a:pt x="70" y="123"/>
                    <a:pt x="70" y="123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67" y="131"/>
                    <a:pt x="63" y="137"/>
                    <a:pt x="62" y="137"/>
                  </a:cubicBezTo>
                  <a:cubicBezTo>
                    <a:pt x="62" y="138"/>
                    <a:pt x="60" y="140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3" y="149"/>
                    <a:pt x="33" y="149"/>
                    <a:pt x="33" y="149"/>
                  </a:cubicBezTo>
                  <a:cubicBezTo>
                    <a:pt x="25" y="145"/>
                    <a:pt x="25" y="145"/>
                    <a:pt x="25" y="145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21" y="135"/>
                    <a:pt x="21" y="135"/>
                    <a:pt x="21" y="135"/>
                  </a:cubicBezTo>
                  <a:cubicBezTo>
                    <a:pt x="21" y="135"/>
                    <a:pt x="25" y="131"/>
                    <a:pt x="25" y="130"/>
                  </a:cubicBezTo>
                  <a:cubicBezTo>
                    <a:pt x="26" y="129"/>
                    <a:pt x="19" y="128"/>
                    <a:pt x="19" y="128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1" y="115"/>
                    <a:pt x="21" y="115"/>
                    <a:pt x="21" y="115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26"/>
                    <a:pt x="81" y="26"/>
                    <a:pt x="81" y="26"/>
                  </a:cubicBezTo>
                  <a:lnTo>
                    <a:pt x="90" y="2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3" name="Freeform 80"/>
            <p:cNvSpPr>
              <a:spLocks/>
            </p:cNvSpPr>
            <p:nvPr/>
          </p:nvSpPr>
          <p:spPr bwMode="auto">
            <a:xfrm>
              <a:off x="1281" y="3445"/>
              <a:ext cx="154" cy="106"/>
            </a:xfrm>
            <a:custGeom>
              <a:avLst/>
              <a:gdLst>
                <a:gd name="T0" fmla="*/ 0 w 154"/>
                <a:gd name="T1" fmla="*/ 33 h 106"/>
                <a:gd name="T2" fmla="*/ 4 w 154"/>
                <a:gd name="T3" fmla="*/ 33 h 106"/>
                <a:gd name="T4" fmla="*/ 15 w 154"/>
                <a:gd name="T5" fmla="*/ 25 h 106"/>
                <a:gd name="T6" fmla="*/ 15 w 154"/>
                <a:gd name="T7" fmla="*/ 19 h 106"/>
                <a:gd name="T8" fmla="*/ 23 w 154"/>
                <a:gd name="T9" fmla="*/ 19 h 106"/>
                <a:gd name="T10" fmla="*/ 31 w 154"/>
                <a:gd name="T11" fmla="*/ 6 h 106"/>
                <a:gd name="T12" fmla="*/ 48 w 154"/>
                <a:gd name="T13" fmla="*/ 4 h 106"/>
                <a:gd name="T14" fmla="*/ 48 w 154"/>
                <a:gd name="T15" fmla="*/ 0 h 106"/>
                <a:gd name="T16" fmla="*/ 56 w 154"/>
                <a:gd name="T17" fmla="*/ 4 h 106"/>
                <a:gd name="T18" fmla="*/ 71 w 154"/>
                <a:gd name="T19" fmla="*/ 4 h 106"/>
                <a:gd name="T20" fmla="*/ 71 w 154"/>
                <a:gd name="T21" fmla="*/ 14 h 106"/>
                <a:gd name="T22" fmla="*/ 81 w 154"/>
                <a:gd name="T23" fmla="*/ 23 h 106"/>
                <a:gd name="T24" fmla="*/ 81 w 154"/>
                <a:gd name="T25" fmla="*/ 37 h 106"/>
                <a:gd name="T26" fmla="*/ 92 w 154"/>
                <a:gd name="T27" fmla="*/ 48 h 106"/>
                <a:gd name="T28" fmla="*/ 92 w 154"/>
                <a:gd name="T29" fmla="*/ 56 h 106"/>
                <a:gd name="T30" fmla="*/ 104 w 154"/>
                <a:gd name="T31" fmla="*/ 56 h 106"/>
                <a:gd name="T32" fmla="*/ 115 w 154"/>
                <a:gd name="T33" fmla="*/ 50 h 106"/>
                <a:gd name="T34" fmla="*/ 127 w 154"/>
                <a:gd name="T35" fmla="*/ 52 h 106"/>
                <a:gd name="T36" fmla="*/ 131 w 154"/>
                <a:gd name="T37" fmla="*/ 44 h 106"/>
                <a:gd name="T38" fmla="*/ 144 w 154"/>
                <a:gd name="T39" fmla="*/ 46 h 106"/>
                <a:gd name="T40" fmla="*/ 144 w 154"/>
                <a:gd name="T41" fmla="*/ 58 h 106"/>
                <a:gd name="T42" fmla="*/ 154 w 154"/>
                <a:gd name="T43" fmla="*/ 62 h 106"/>
                <a:gd name="T44" fmla="*/ 154 w 154"/>
                <a:gd name="T45" fmla="*/ 75 h 106"/>
                <a:gd name="T46" fmla="*/ 150 w 154"/>
                <a:gd name="T47" fmla="*/ 77 h 106"/>
                <a:gd name="T48" fmla="*/ 152 w 154"/>
                <a:gd name="T49" fmla="*/ 87 h 106"/>
                <a:gd name="T50" fmla="*/ 146 w 154"/>
                <a:gd name="T51" fmla="*/ 92 h 106"/>
                <a:gd name="T52" fmla="*/ 148 w 154"/>
                <a:gd name="T53" fmla="*/ 104 h 106"/>
                <a:gd name="T54" fmla="*/ 127 w 154"/>
                <a:gd name="T55" fmla="*/ 106 h 106"/>
                <a:gd name="T56" fmla="*/ 115 w 154"/>
                <a:gd name="T57" fmla="*/ 96 h 106"/>
                <a:gd name="T58" fmla="*/ 104 w 154"/>
                <a:gd name="T59" fmla="*/ 106 h 106"/>
                <a:gd name="T60" fmla="*/ 96 w 154"/>
                <a:gd name="T61" fmla="*/ 104 h 106"/>
                <a:gd name="T62" fmla="*/ 83 w 154"/>
                <a:gd name="T63" fmla="*/ 92 h 106"/>
                <a:gd name="T64" fmla="*/ 69 w 154"/>
                <a:gd name="T65" fmla="*/ 89 h 106"/>
                <a:gd name="T66" fmla="*/ 61 w 154"/>
                <a:gd name="T67" fmla="*/ 92 h 106"/>
                <a:gd name="T68" fmla="*/ 48 w 154"/>
                <a:gd name="T69" fmla="*/ 79 h 106"/>
                <a:gd name="T70" fmla="*/ 48 w 154"/>
                <a:gd name="T71" fmla="*/ 62 h 106"/>
                <a:gd name="T72" fmla="*/ 38 w 154"/>
                <a:gd name="T73" fmla="*/ 54 h 106"/>
                <a:gd name="T74" fmla="*/ 23 w 154"/>
                <a:gd name="T75" fmla="*/ 52 h 106"/>
                <a:gd name="T76" fmla="*/ 13 w 154"/>
                <a:gd name="T77" fmla="*/ 44 h 106"/>
                <a:gd name="T78" fmla="*/ 4 w 154"/>
                <a:gd name="T79" fmla="*/ 44 h 106"/>
                <a:gd name="T80" fmla="*/ 0 w 154"/>
                <a:gd name="T81" fmla="*/ 3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" h="106">
                  <a:moveTo>
                    <a:pt x="0" y="33"/>
                  </a:moveTo>
                  <a:lnTo>
                    <a:pt x="4" y="33"/>
                  </a:lnTo>
                  <a:lnTo>
                    <a:pt x="15" y="25"/>
                  </a:lnTo>
                  <a:lnTo>
                    <a:pt x="15" y="19"/>
                  </a:lnTo>
                  <a:lnTo>
                    <a:pt x="23" y="19"/>
                  </a:lnTo>
                  <a:lnTo>
                    <a:pt x="31" y="6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6" y="4"/>
                  </a:lnTo>
                  <a:lnTo>
                    <a:pt x="71" y="4"/>
                  </a:lnTo>
                  <a:lnTo>
                    <a:pt x="71" y="14"/>
                  </a:lnTo>
                  <a:lnTo>
                    <a:pt x="81" y="23"/>
                  </a:lnTo>
                  <a:lnTo>
                    <a:pt x="81" y="37"/>
                  </a:lnTo>
                  <a:lnTo>
                    <a:pt x="92" y="48"/>
                  </a:lnTo>
                  <a:lnTo>
                    <a:pt x="92" y="56"/>
                  </a:lnTo>
                  <a:lnTo>
                    <a:pt x="104" y="56"/>
                  </a:lnTo>
                  <a:lnTo>
                    <a:pt x="115" y="50"/>
                  </a:lnTo>
                  <a:lnTo>
                    <a:pt x="127" y="52"/>
                  </a:lnTo>
                  <a:lnTo>
                    <a:pt x="131" y="44"/>
                  </a:lnTo>
                  <a:lnTo>
                    <a:pt x="144" y="46"/>
                  </a:lnTo>
                  <a:lnTo>
                    <a:pt x="144" y="58"/>
                  </a:lnTo>
                  <a:lnTo>
                    <a:pt x="154" y="62"/>
                  </a:lnTo>
                  <a:lnTo>
                    <a:pt x="154" y="75"/>
                  </a:lnTo>
                  <a:lnTo>
                    <a:pt x="150" y="77"/>
                  </a:lnTo>
                  <a:lnTo>
                    <a:pt x="152" y="87"/>
                  </a:lnTo>
                  <a:lnTo>
                    <a:pt x="146" y="92"/>
                  </a:lnTo>
                  <a:lnTo>
                    <a:pt x="148" y="104"/>
                  </a:lnTo>
                  <a:lnTo>
                    <a:pt x="127" y="106"/>
                  </a:lnTo>
                  <a:lnTo>
                    <a:pt x="115" y="96"/>
                  </a:lnTo>
                  <a:lnTo>
                    <a:pt x="104" y="106"/>
                  </a:lnTo>
                  <a:lnTo>
                    <a:pt x="96" y="104"/>
                  </a:lnTo>
                  <a:lnTo>
                    <a:pt x="83" y="92"/>
                  </a:lnTo>
                  <a:lnTo>
                    <a:pt x="69" y="89"/>
                  </a:lnTo>
                  <a:lnTo>
                    <a:pt x="61" y="92"/>
                  </a:lnTo>
                  <a:lnTo>
                    <a:pt x="48" y="79"/>
                  </a:lnTo>
                  <a:lnTo>
                    <a:pt x="48" y="62"/>
                  </a:lnTo>
                  <a:lnTo>
                    <a:pt x="38" y="54"/>
                  </a:lnTo>
                  <a:lnTo>
                    <a:pt x="23" y="52"/>
                  </a:lnTo>
                  <a:lnTo>
                    <a:pt x="13" y="44"/>
                  </a:lnTo>
                  <a:lnTo>
                    <a:pt x="4" y="44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4" name="Freeform 81"/>
            <p:cNvSpPr>
              <a:spLocks/>
            </p:cNvSpPr>
            <p:nvPr/>
          </p:nvSpPr>
          <p:spPr bwMode="auto">
            <a:xfrm>
              <a:off x="1450" y="3491"/>
              <a:ext cx="240" cy="202"/>
            </a:xfrm>
            <a:custGeom>
              <a:avLst/>
              <a:gdLst>
                <a:gd name="T0" fmla="*/ 0 w 240"/>
                <a:gd name="T1" fmla="*/ 52 h 202"/>
                <a:gd name="T2" fmla="*/ 12 w 240"/>
                <a:gd name="T3" fmla="*/ 48 h 202"/>
                <a:gd name="T4" fmla="*/ 27 w 240"/>
                <a:gd name="T5" fmla="*/ 54 h 202"/>
                <a:gd name="T6" fmla="*/ 44 w 240"/>
                <a:gd name="T7" fmla="*/ 48 h 202"/>
                <a:gd name="T8" fmla="*/ 44 w 240"/>
                <a:gd name="T9" fmla="*/ 29 h 202"/>
                <a:gd name="T10" fmla="*/ 69 w 240"/>
                <a:gd name="T11" fmla="*/ 21 h 202"/>
                <a:gd name="T12" fmla="*/ 83 w 240"/>
                <a:gd name="T13" fmla="*/ 16 h 202"/>
                <a:gd name="T14" fmla="*/ 102 w 240"/>
                <a:gd name="T15" fmla="*/ 8 h 202"/>
                <a:gd name="T16" fmla="*/ 112 w 240"/>
                <a:gd name="T17" fmla="*/ 0 h 202"/>
                <a:gd name="T18" fmla="*/ 121 w 240"/>
                <a:gd name="T19" fmla="*/ 6 h 202"/>
                <a:gd name="T20" fmla="*/ 140 w 240"/>
                <a:gd name="T21" fmla="*/ 6 h 202"/>
                <a:gd name="T22" fmla="*/ 144 w 240"/>
                <a:gd name="T23" fmla="*/ 14 h 202"/>
                <a:gd name="T24" fmla="*/ 154 w 240"/>
                <a:gd name="T25" fmla="*/ 12 h 202"/>
                <a:gd name="T26" fmla="*/ 160 w 240"/>
                <a:gd name="T27" fmla="*/ 35 h 202"/>
                <a:gd name="T28" fmla="*/ 171 w 240"/>
                <a:gd name="T29" fmla="*/ 50 h 202"/>
                <a:gd name="T30" fmla="*/ 187 w 240"/>
                <a:gd name="T31" fmla="*/ 56 h 202"/>
                <a:gd name="T32" fmla="*/ 200 w 240"/>
                <a:gd name="T33" fmla="*/ 68 h 202"/>
                <a:gd name="T34" fmla="*/ 212 w 240"/>
                <a:gd name="T35" fmla="*/ 75 h 202"/>
                <a:gd name="T36" fmla="*/ 223 w 240"/>
                <a:gd name="T37" fmla="*/ 79 h 202"/>
                <a:gd name="T38" fmla="*/ 223 w 240"/>
                <a:gd name="T39" fmla="*/ 87 h 202"/>
                <a:gd name="T40" fmla="*/ 231 w 240"/>
                <a:gd name="T41" fmla="*/ 93 h 202"/>
                <a:gd name="T42" fmla="*/ 221 w 240"/>
                <a:gd name="T43" fmla="*/ 104 h 202"/>
                <a:gd name="T44" fmla="*/ 237 w 240"/>
                <a:gd name="T45" fmla="*/ 110 h 202"/>
                <a:gd name="T46" fmla="*/ 233 w 240"/>
                <a:gd name="T47" fmla="*/ 112 h 202"/>
                <a:gd name="T48" fmla="*/ 237 w 240"/>
                <a:gd name="T49" fmla="*/ 118 h 202"/>
                <a:gd name="T50" fmla="*/ 240 w 240"/>
                <a:gd name="T51" fmla="*/ 129 h 202"/>
                <a:gd name="T52" fmla="*/ 227 w 240"/>
                <a:gd name="T53" fmla="*/ 139 h 202"/>
                <a:gd name="T54" fmla="*/ 215 w 240"/>
                <a:gd name="T55" fmla="*/ 143 h 202"/>
                <a:gd name="T56" fmla="*/ 194 w 240"/>
                <a:gd name="T57" fmla="*/ 143 h 202"/>
                <a:gd name="T58" fmla="*/ 200 w 240"/>
                <a:gd name="T59" fmla="*/ 166 h 202"/>
                <a:gd name="T60" fmla="*/ 187 w 240"/>
                <a:gd name="T61" fmla="*/ 177 h 202"/>
                <a:gd name="T62" fmla="*/ 177 w 240"/>
                <a:gd name="T63" fmla="*/ 179 h 202"/>
                <a:gd name="T64" fmla="*/ 177 w 240"/>
                <a:gd name="T65" fmla="*/ 189 h 202"/>
                <a:gd name="T66" fmla="*/ 165 w 240"/>
                <a:gd name="T67" fmla="*/ 202 h 202"/>
                <a:gd name="T68" fmla="*/ 165 w 240"/>
                <a:gd name="T69" fmla="*/ 200 h 202"/>
                <a:gd name="T70" fmla="*/ 154 w 240"/>
                <a:gd name="T71" fmla="*/ 191 h 202"/>
                <a:gd name="T72" fmla="*/ 160 w 240"/>
                <a:gd name="T73" fmla="*/ 181 h 202"/>
                <a:gd name="T74" fmla="*/ 154 w 240"/>
                <a:gd name="T75" fmla="*/ 171 h 202"/>
                <a:gd name="T76" fmla="*/ 140 w 240"/>
                <a:gd name="T77" fmla="*/ 171 h 202"/>
                <a:gd name="T78" fmla="*/ 135 w 240"/>
                <a:gd name="T79" fmla="*/ 160 h 202"/>
                <a:gd name="T80" fmla="*/ 140 w 240"/>
                <a:gd name="T81" fmla="*/ 148 h 202"/>
                <a:gd name="T82" fmla="*/ 112 w 240"/>
                <a:gd name="T83" fmla="*/ 131 h 202"/>
                <a:gd name="T84" fmla="*/ 100 w 240"/>
                <a:gd name="T85" fmla="*/ 141 h 202"/>
                <a:gd name="T86" fmla="*/ 81 w 240"/>
                <a:gd name="T87" fmla="*/ 123 h 202"/>
                <a:gd name="T88" fmla="*/ 81 w 240"/>
                <a:gd name="T89" fmla="*/ 125 h 202"/>
                <a:gd name="T90" fmla="*/ 81 w 240"/>
                <a:gd name="T91" fmla="*/ 118 h 202"/>
                <a:gd name="T92" fmla="*/ 69 w 240"/>
                <a:gd name="T93" fmla="*/ 104 h 202"/>
                <a:gd name="T94" fmla="*/ 67 w 240"/>
                <a:gd name="T95" fmla="*/ 91 h 202"/>
                <a:gd name="T96" fmla="*/ 60 w 240"/>
                <a:gd name="T97" fmla="*/ 81 h 202"/>
                <a:gd name="T98" fmla="*/ 54 w 240"/>
                <a:gd name="T99" fmla="*/ 85 h 202"/>
                <a:gd name="T100" fmla="*/ 48 w 240"/>
                <a:gd name="T101" fmla="*/ 87 h 202"/>
                <a:gd name="T102" fmla="*/ 23 w 240"/>
                <a:gd name="T103" fmla="*/ 64 h 202"/>
                <a:gd name="T104" fmla="*/ 14 w 240"/>
                <a:gd name="T105" fmla="*/ 62 h 202"/>
                <a:gd name="T106" fmla="*/ 2 w 240"/>
                <a:gd name="T107" fmla="*/ 64 h 202"/>
                <a:gd name="T108" fmla="*/ 2 w 240"/>
                <a:gd name="T109" fmla="*/ 54 h 202"/>
                <a:gd name="T110" fmla="*/ 0 w 240"/>
                <a:gd name="T111" fmla="*/ 5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0" h="202">
                  <a:moveTo>
                    <a:pt x="0" y="52"/>
                  </a:moveTo>
                  <a:lnTo>
                    <a:pt x="12" y="48"/>
                  </a:lnTo>
                  <a:lnTo>
                    <a:pt x="27" y="54"/>
                  </a:lnTo>
                  <a:lnTo>
                    <a:pt x="44" y="48"/>
                  </a:lnTo>
                  <a:lnTo>
                    <a:pt x="44" y="29"/>
                  </a:lnTo>
                  <a:lnTo>
                    <a:pt x="69" y="21"/>
                  </a:lnTo>
                  <a:lnTo>
                    <a:pt x="83" y="16"/>
                  </a:lnTo>
                  <a:lnTo>
                    <a:pt x="102" y="8"/>
                  </a:lnTo>
                  <a:lnTo>
                    <a:pt x="112" y="0"/>
                  </a:lnTo>
                  <a:lnTo>
                    <a:pt x="121" y="6"/>
                  </a:lnTo>
                  <a:lnTo>
                    <a:pt x="140" y="6"/>
                  </a:lnTo>
                  <a:lnTo>
                    <a:pt x="144" y="14"/>
                  </a:lnTo>
                  <a:lnTo>
                    <a:pt x="154" y="12"/>
                  </a:lnTo>
                  <a:lnTo>
                    <a:pt x="160" y="35"/>
                  </a:lnTo>
                  <a:lnTo>
                    <a:pt x="171" y="50"/>
                  </a:lnTo>
                  <a:lnTo>
                    <a:pt x="187" y="56"/>
                  </a:lnTo>
                  <a:lnTo>
                    <a:pt x="200" y="68"/>
                  </a:lnTo>
                  <a:lnTo>
                    <a:pt x="212" y="75"/>
                  </a:lnTo>
                  <a:lnTo>
                    <a:pt x="223" y="79"/>
                  </a:lnTo>
                  <a:lnTo>
                    <a:pt x="223" y="87"/>
                  </a:lnTo>
                  <a:lnTo>
                    <a:pt x="231" y="93"/>
                  </a:lnTo>
                  <a:lnTo>
                    <a:pt x="221" y="104"/>
                  </a:lnTo>
                  <a:lnTo>
                    <a:pt x="237" y="110"/>
                  </a:lnTo>
                  <a:lnTo>
                    <a:pt x="233" y="112"/>
                  </a:lnTo>
                  <a:lnTo>
                    <a:pt x="237" y="118"/>
                  </a:lnTo>
                  <a:lnTo>
                    <a:pt x="240" y="129"/>
                  </a:lnTo>
                  <a:lnTo>
                    <a:pt x="227" y="139"/>
                  </a:lnTo>
                  <a:lnTo>
                    <a:pt x="215" y="143"/>
                  </a:lnTo>
                  <a:lnTo>
                    <a:pt x="194" y="143"/>
                  </a:lnTo>
                  <a:lnTo>
                    <a:pt x="200" y="166"/>
                  </a:lnTo>
                  <a:lnTo>
                    <a:pt x="187" y="177"/>
                  </a:lnTo>
                  <a:lnTo>
                    <a:pt x="177" y="179"/>
                  </a:lnTo>
                  <a:lnTo>
                    <a:pt x="177" y="189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54" y="191"/>
                  </a:lnTo>
                  <a:lnTo>
                    <a:pt x="160" y="181"/>
                  </a:lnTo>
                  <a:lnTo>
                    <a:pt x="154" y="171"/>
                  </a:lnTo>
                  <a:lnTo>
                    <a:pt x="140" y="171"/>
                  </a:lnTo>
                  <a:lnTo>
                    <a:pt x="135" y="160"/>
                  </a:lnTo>
                  <a:lnTo>
                    <a:pt x="140" y="148"/>
                  </a:lnTo>
                  <a:lnTo>
                    <a:pt x="112" y="131"/>
                  </a:lnTo>
                  <a:lnTo>
                    <a:pt x="100" y="141"/>
                  </a:lnTo>
                  <a:lnTo>
                    <a:pt x="81" y="123"/>
                  </a:lnTo>
                  <a:lnTo>
                    <a:pt x="81" y="125"/>
                  </a:lnTo>
                  <a:lnTo>
                    <a:pt x="81" y="118"/>
                  </a:lnTo>
                  <a:lnTo>
                    <a:pt x="69" y="104"/>
                  </a:lnTo>
                  <a:lnTo>
                    <a:pt x="67" y="91"/>
                  </a:lnTo>
                  <a:lnTo>
                    <a:pt x="60" y="81"/>
                  </a:lnTo>
                  <a:lnTo>
                    <a:pt x="54" y="85"/>
                  </a:lnTo>
                  <a:lnTo>
                    <a:pt x="48" y="87"/>
                  </a:lnTo>
                  <a:lnTo>
                    <a:pt x="23" y="64"/>
                  </a:lnTo>
                  <a:lnTo>
                    <a:pt x="14" y="62"/>
                  </a:lnTo>
                  <a:lnTo>
                    <a:pt x="2" y="64"/>
                  </a:lnTo>
                  <a:lnTo>
                    <a:pt x="2" y="54"/>
                  </a:lnTo>
                  <a:lnTo>
                    <a:pt x="0" y="52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5" name="Freeform 82"/>
            <p:cNvSpPr>
              <a:spLocks/>
            </p:cNvSpPr>
            <p:nvPr/>
          </p:nvSpPr>
          <p:spPr bwMode="auto">
            <a:xfrm>
              <a:off x="1429" y="3455"/>
              <a:ext cx="94" cy="90"/>
            </a:xfrm>
            <a:custGeom>
              <a:avLst/>
              <a:gdLst>
                <a:gd name="T0" fmla="*/ 0 w 94"/>
                <a:gd name="T1" fmla="*/ 50 h 90"/>
                <a:gd name="T2" fmla="*/ 23 w 94"/>
                <a:gd name="T3" fmla="*/ 32 h 90"/>
                <a:gd name="T4" fmla="*/ 23 w 94"/>
                <a:gd name="T5" fmla="*/ 15 h 90"/>
                <a:gd name="T6" fmla="*/ 44 w 94"/>
                <a:gd name="T7" fmla="*/ 0 h 90"/>
                <a:gd name="T8" fmla="*/ 56 w 94"/>
                <a:gd name="T9" fmla="*/ 7 h 90"/>
                <a:gd name="T10" fmla="*/ 83 w 94"/>
                <a:gd name="T11" fmla="*/ 7 h 90"/>
                <a:gd name="T12" fmla="*/ 83 w 94"/>
                <a:gd name="T13" fmla="*/ 17 h 90"/>
                <a:gd name="T14" fmla="*/ 94 w 94"/>
                <a:gd name="T15" fmla="*/ 27 h 90"/>
                <a:gd name="T16" fmla="*/ 85 w 94"/>
                <a:gd name="T17" fmla="*/ 40 h 90"/>
                <a:gd name="T18" fmla="*/ 94 w 94"/>
                <a:gd name="T19" fmla="*/ 54 h 90"/>
                <a:gd name="T20" fmla="*/ 90 w 94"/>
                <a:gd name="T21" fmla="*/ 57 h 90"/>
                <a:gd name="T22" fmla="*/ 65 w 94"/>
                <a:gd name="T23" fmla="*/ 65 h 90"/>
                <a:gd name="T24" fmla="*/ 65 w 94"/>
                <a:gd name="T25" fmla="*/ 84 h 90"/>
                <a:gd name="T26" fmla="*/ 48 w 94"/>
                <a:gd name="T27" fmla="*/ 90 h 90"/>
                <a:gd name="T28" fmla="*/ 33 w 94"/>
                <a:gd name="T29" fmla="*/ 84 h 90"/>
                <a:gd name="T30" fmla="*/ 21 w 94"/>
                <a:gd name="T31" fmla="*/ 88 h 90"/>
                <a:gd name="T32" fmla="*/ 4 w 94"/>
                <a:gd name="T33" fmla="*/ 77 h 90"/>
                <a:gd name="T34" fmla="*/ 4 w 94"/>
                <a:gd name="T35" fmla="*/ 77 h 90"/>
                <a:gd name="T36" fmla="*/ 2 w 94"/>
                <a:gd name="T37" fmla="*/ 67 h 90"/>
                <a:gd name="T38" fmla="*/ 6 w 94"/>
                <a:gd name="T39" fmla="*/ 65 h 90"/>
                <a:gd name="T40" fmla="*/ 6 w 94"/>
                <a:gd name="T41" fmla="*/ 52 h 90"/>
                <a:gd name="T42" fmla="*/ 0 w 94"/>
                <a:gd name="T4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4" h="90">
                  <a:moveTo>
                    <a:pt x="0" y="50"/>
                  </a:moveTo>
                  <a:lnTo>
                    <a:pt x="23" y="32"/>
                  </a:lnTo>
                  <a:lnTo>
                    <a:pt x="23" y="15"/>
                  </a:lnTo>
                  <a:lnTo>
                    <a:pt x="44" y="0"/>
                  </a:lnTo>
                  <a:lnTo>
                    <a:pt x="56" y="7"/>
                  </a:lnTo>
                  <a:lnTo>
                    <a:pt x="83" y="7"/>
                  </a:lnTo>
                  <a:lnTo>
                    <a:pt x="83" y="17"/>
                  </a:lnTo>
                  <a:lnTo>
                    <a:pt x="94" y="27"/>
                  </a:lnTo>
                  <a:lnTo>
                    <a:pt x="85" y="40"/>
                  </a:lnTo>
                  <a:lnTo>
                    <a:pt x="94" y="54"/>
                  </a:lnTo>
                  <a:lnTo>
                    <a:pt x="90" y="57"/>
                  </a:lnTo>
                  <a:lnTo>
                    <a:pt x="65" y="65"/>
                  </a:lnTo>
                  <a:lnTo>
                    <a:pt x="65" y="84"/>
                  </a:lnTo>
                  <a:lnTo>
                    <a:pt x="48" y="90"/>
                  </a:lnTo>
                  <a:lnTo>
                    <a:pt x="33" y="84"/>
                  </a:lnTo>
                  <a:lnTo>
                    <a:pt x="21" y="88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2" y="67"/>
                  </a:lnTo>
                  <a:lnTo>
                    <a:pt x="6" y="65"/>
                  </a:lnTo>
                  <a:lnTo>
                    <a:pt x="6" y="52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6" name="Freeform 83"/>
            <p:cNvSpPr>
              <a:spLocks/>
            </p:cNvSpPr>
            <p:nvPr/>
          </p:nvSpPr>
          <p:spPr bwMode="auto">
            <a:xfrm>
              <a:off x="1464" y="3409"/>
              <a:ext cx="142" cy="103"/>
            </a:xfrm>
            <a:custGeom>
              <a:avLst/>
              <a:gdLst>
                <a:gd name="T0" fmla="*/ 55 w 142"/>
                <a:gd name="T1" fmla="*/ 13 h 103"/>
                <a:gd name="T2" fmla="*/ 71 w 142"/>
                <a:gd name="T3" fmla="*/ 34 h 103"/>
                <a:gd name="T4" fmla="*/ 86 w 142"/>
                <a:gd name="T5" fmla="*/ 28 h 103"/>
                <a:gd name="T6" fmla="*/ 92 w 142"/>
                <a:gd name="T7" fmla="*/ 34 h 103"/>
                <a:gd name="T8" fmla="*/ 101 w 142"/>
                <a:gd name="T9" fmla="*/ 23 h 103"/>
                <a:gd name="T10" fmla="*/ 113 w 142"/>
                <a:gd name="T11" fmla="*/ 36 h 103"/>
                <a:gd name="T12" fmla="*/ 126 w 142"/>
                <a:gd name="T13" fmla="*/ 36 h 103"/>
                <a:gd name="T14" fmla="*/ 128 w 142"/>
                <a:gd name="T15" fmla="*/ 53 h 103"/>
                <a:gd name="T16" fmla="*/ 142 w 142"/>
                <a:gd name="T17" fmla="*/ 57 h 103"/>
                <a:gd name="T18" fmla="*/ 140 w 142"/>
                <a:gd name="T19" fmla="*/ 80 h 103"/>
                <a:gd name="T20" fmla="*/ 140 w 142"/>
                <a:gd name="T21" fmla="*/ 94 h 103"/>
                <a:gd name="T22" fmla="*/ 130 w 142"/>
                <a:gd name="T23" fmla="*/ 96 h 103"/>
                <a:gd name="T24" fmla="*/ 126 w 142"/>
                <a:gd name="T25" fmla="*/ 88 h 103"/>
                <a:gd name="T26" fmla="*/ 107 w 142"/>
                <a:gd name="T27" fmla="*/ 88 h 103"/>
                <a:gd name="T28" fmla="*/ 98 w 142"/>
                <a:gd name="T29" fmla="*/ 82 h 103"/>
                <a:gd name="T30" fmla="*/ 88 w 142"/>
                <a:gd name="T31" fmla="*/ 90 h 103"/>
                <a:gd name="T32" fmla="*/ 69 w 142"/>
                <a:gd name="T33" fmla="*/ 98 h 103"/>
                <a:gd name="T34" fmla="*/ 55 w 142"/>
                <a:gd name="T35" fmla="*/ 103 h 103"/>
                <a:gd name="T36" fmla="*/ 59 w 142"/>
                <a:gd name="T37" fmla="*/ 100 h 103"/>
                <a:gd name="T38" fmla="*/ 50 w 142"/>
                <a:gd name="T39" fmla="*/ 86 h 103"/>
                <a:gd name="T40" fmla="*/ 59 w 142"/>
                <a:gd name="T41" fmla="*/ 73 h 103"/>
                <a:gd name="T42" fmla="*/ 48 w 142"/>
                <a:gd name="T43" fmla="*/ 63 h 103"/>
                <a:gd name="T44" fmla="*/ 48 w 142"/>
                <a:gd name="T45" fmla="*/ 53 h 103"/>
                <a:gd name="T46" fmla="*/ 21 w 142"/>
                <a:gd name="T47" fmla="*/ 53 h 103"/>
                <a:gd name="T48" fmla="*/ 9 w 142"/>
                <a:gd name="T49" fmla="*/ 46 h 103"/>
                <a:gd name="T50" fmla="*/ 0 w 142"/>
                <a:gd name="T51" fmla="*/ 34 h 103"/>
                <a:gd name="T52" fmla="*/ 11 w 142"/>
                <a:gd name="T53" fmla="*/ 23 h 103"/>
                <a:gd name="T54" fmla="*/ 9 w 142"/>
                <a:gd name="T55" fmla="*/ 11 h 103"/>
                <a:gd name="T56" fmla="*/ 28 w 142"/>
                <a:gd name="T57" fmla="*/ 11 h 103"/>
                <a:gd name="T58" fmla="*/ 34 w 142"/>
                <a:gd name="T59" fmla="*/ 0 h 103"/>
                <a:gd name="T60" fmla="*/ 55 w 142"/>
                <a:gd name="T61" fmla="*/ 1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2" h="103">
                  <a:moveTo>
                    <a:pt x="55" y="13"/>
                  </a:moveTo>
                  <a:lnTo>
                    <a:pt x="71" y="34"/>
                  </a:lnTo>
                  <a:lnTo>
                    <a:pt x="86" y="28"/>
                  </a:lnTo>
                  <a:lnTo>
                    <a:pt x="92" y="34"/>
                  </a:lnTo>
                  <a:lnTo>
                    <a:pt x="101" y="23"/>
                  </a:lnTo>
                  <a:lnTo>
                    <a:pt x="113" y="36"/>
                  </a:lnTo>
                  <a:lnTo>
                    <a:pt x="126" y="36"/>
                  </a:lnTo>
                  <a:lnTo>
                    <a:pt x="128" y="53"/>
                  </a:lnTo>
                  <a:lnTo>
                    <a:pt x="142" y="57"/>
                  </a:lnTo>
                  <a:lnTo>
                    <a:pt x="140" y="80"/>
                  </a:lnTo>
                  <a:lnTo>
                    <a:pt x="140" y="94"/>
                  </a:lnTo>
                  <a:lnTo>
                    <a:pt x="130" y="96"/>
                  </a:lnTo>
                  <a:lnTo>
                    <a:pt x="126" y="88"/>
                  </a:lnTo>
                  <a:lnTo>
                    <a:pt x="107" y="88"/>
                  </a:lnTo>
                  <a:lnTo>
                    <a:pt x="98" y="82"/>
                  </a:lnTo>
                  <a:lnTo>
                    <a:pt x="88" y="90"/>
                  </a:lnTo>
                  <a:lnTo>
                    <a:pt x="69" y="98"/>
                  </a:lnTo>
                  <a:lnTo>
                    <a:pt x="55" y="103"/>
                  </a:lnTo>
                  <a:lnTo>
                    <a:pt x="59" y="100"/>
                  </a:lnTo>
                  <a:lnTo>
                    <a:pt x="50" y="86"/>
                  </a:lnTo>
                  <a:lnTo>
                    <a:pt x="59" y="73"/>
                  </a:lnTo>
                  <a:lnTo>
                    <a:pt x="48" y="63"/>
                  </a:lnTo>
                  <a:lnTo>
                    <a:pt x="48" y="53"/>
                  </a:lnTo>
                  <a:lnTo>
                    <a:pt x="21" y="53"/>
                  </a:lnTo>
                  <a:lnTo>
                    <a:pt x="9" y="46"/>
                  </a:lnTo>
                  <a:lnTo>
                    <a:pt x="0" y="34"/>
                  </a:lnTo>
                  <a:lnTo>
                    <a:pt x="11" y="23"/>
                  </a:lnTo>
                  <a:lnTo>
                    <a:pt x="9" y="11"/>
                  </a:lnTo>
                  <a:lnTo>
                    <a:pt x="28" y="11"/>
                  </a:lnTo>
                  <a:lnTo>
                    <a:pt x="34" y="0"/>
                  </a:lnTo>
                  <a:lnTo>
                    <a:pt x="55" y="1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7" name="Freeform 84"/>
            <p:cNvSpPr>
              <a:spLocks/>
            </p:cNvSpPr>
            <p:nvPr/>
          </p:nvSpPr>
          <p:spPr bwMode="auto">
            <a:xfrm>
              <a:off x="1621" y="3434"/>
              <a:ext cx="137" cy="167"/>
            </a:xfrm>
            <a:custGeom>
              <a:avLst/>
              <a:gdLst>
                <a:gd name="T0" fmla="*/ 100 w 137"/>
                <a:gd name="T1" fmla="*/ 153 h 167"/>
                <a:gd name="T2" fmla="*/ 94 w 137"/>
                <a:gd name="T3" fmla="*/ 138 h 167"/>
                <a:gd name="T4" fmla="*/ 94 w 137"/>
                <a:gd name="T5" fmla="*/ 125 h 167"/>
                <a:gd name="T6" fmla="*/ 119 w 137"/>
                <a:gd name="T7" fmla="*/ 117 h 167"/>
                <a:gd name="T8" fmla="*/ 123 w 137"/>
                <a:gd name="T9" fmla="*/ 90 h 167"/>
                <a:gd name="T10" fmla="*/ 125 w 137"/>
                <a:gd name="T11" fmla="*/ 73 h 167"/>
                <a:gd name="T12" fmla="*/ 135 w 137"/>
                <a:gd name="T13" fmla="*/ 63 h 167"/>
                <a:gd name="T14" fmla="*/ 137 w 137"/>
                <a:gd name="T15" fmla="*/ 30 h 167"/>
                <a:gd name="T16" fmla="*/ 125 w 137"/>
                <a:gd name="T17" fmla="*/ 28 h 167"/>
                <a:gd name="T18" fmla="*/ 129 w 137"/>
                <a:gd name="T19" fmla="*/ 15 h 167"/>
                <a:gd name="T20" fmla="*/ 108 w 137"/>
                <a:gd name="T21" fmla="*/ 11 h 167"/>
                <a:gd name="T22" fmla="*/ 91 w 137"/>
                <a:gd name="T23" fmla="*/ 0 h 167"/>
                <a:gd name="T24" fmla="*/ 73 w 137"/>
                <a:gd name="T25" fmla="*/ 23 h 167"/>
                <a:gd name="T26" fmla="*/ 66 w 137"/>
                <a:gd name="T27" fmla="*/ 44 h 167"/>
                <a:gd name="T28" fmla="*/ 54 w 137"/>
                <a:gd name="T29" fmla="*/ 46 h 167"/>
                <a:gd name="T30" fmla="*/ 41 w 137"/>
                <a:gd name="T31" fmla="*/ 38 h 167"/>
                <a:gd name="T32" fmla="*/ 27 w 137"/>
                <a:gd name="T33" fmla="*/ 46 h 167"/>
                <a:gd name="T34" fmla="*/ 25 w 137"/>
                <a:gd name="T35" fmla="*/ 71 h 167"/>
                <a:gd name="T36" fmla="*/ 10 w 137"/>
                <a:gd name="T37" fmla="*/ 96 h 167"/>
                <a:gd name="T38" fmla="*/ 0 w 137"/>
                <a:gd name="T39" fmla="*/ 107 h 167"/>
                <a:gd name="T40" fmla="*/ 0 w 137"/>
                <a:gd name="T41" fmla="*/ 107 h 167"/>
                <a:gd name="T42" fmla="*/ 16 w 137"/>
                <a:gd name="T43" fmla="*/ 113 h 167"/>
                <a:gd name="T44" fmla="*/ 29 w 137"/>
                <a:gd name="T45" fmla="*/ 125 h 167"/>
                <a:gd name="T46" fmla="*/ 41 w 137"/>
                <a:gd name="T47" fmla="*/ 132 h 167"/>
                <a:gd name="T48" fmla="*/ 52 w 137"/>
                <a:gd name="T49" fmla="*/ 136 h 167"/>
                <a:gd name="T50" fmla="*/ 52 w 137"/>
                <a:gd name="T51" fmla="*/ 144 h 167"/>
                <a:gd name="T52" fmla="*/ 60 w 137"/>
                <a:gd name="T53" fmla="*/ 150 h 167"/>
                <a:gd name="T54" fmla="*/ 50 w 137"/>
                <a:gd name="T55" fmla="*/ 161 h 167"/>
                <a:gd name="T56" fmla="*/ 66 w 137"/>
                <a:gd name="T57" fmla="*/ 167 h 167"/>
                <a:gd name="T58" fmla="*/ 100 w 137"/>
                <a:gd name="T59" fmla="*/ 15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7" h="167">
                  <a:moveTo>
                    <a:pt x="100" y="153"/>
                  </a:moveTo>
                  <a:lnTo>
                    <a:pt x="94" y="138"/>
                  </a:lnTo>
                  <a:lnTo>
                    <a:pt x="94" y="125"/>
                  </a:lnTo>
                  <a:lnTo>
                    <a:pt x="119" y="117"/>
                  </a:lnTo>
                  <a:lnTo>
                    <a:pt x="123" y="90"/>
                  </a:lnTo>
                  <a:lnTo>
                    <a:pt x="125" y="73"/>
                  </a:lnTo>
                  <a:lnTo>
                    <a:pt x="135" y="63"/>
                  </a:lnTo>
                  <a:lnTo>
                    <a:pt x="137" y="30"/>
                  </a:lnTo>
                  <a:lnTo>
                    <a:pt x="125" y="28"/>
                  </a:lnTo>
                  <a:lnTo>
                    <a:pt x="129" y="15"/>
                  </a:lnTo>
                  <a:lnTo>
                    <a:pt x="108" y="11"/>
                  </a:lnTo>
                  <a:lnTo>
                    <a:pt x="91" y="0"/>
                  </a:lnTo>
                  <a:lnTo>
                    <a:pt x="73" y="23"/>
                  </a:lnTo>
                  <a:lnTo>
                    <a:pt x="66" y="44"/>
                  </a:lnTo>
                  <a:lnTo>
                    <a:pt x="54" y="46"/>
                  </a:lnTo>
                  <a:lnTo>
                    <a:pt x="41" y="38"/>
                  </a:lnTo>
                  <a:lnTo>
                    <a:pt x="27" y="46"/>
                  </a:lnTo>
                  <a:lnTo>
                    <a:pt x="25" y="71"/>
                  </a:lnTo>
                  <a:lnTo>
                    <a:pt x="10" y="96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16" y="113"/>
                  </a:lnTo>
                  <a:lnTo>
                    <a:pt x="29" y="125"/>
                  </a:lnTo>
                  <a:lnTo>
                    <a:pt x="41" y="132"/>
                  </a:lnTo>
                  <a:lnTo>
                    <a:pt x="52" y="136"/>
                  </a:lnTo>
                  <a:lnTo>
                    <a:pt x="52" y="144"/>
                  </a:lnTo>
                  <a:lnTo>
                    <a:pt x="60" y="150"/>
                  </a:lnTo>
                  <a:lnTo>
                    <a:pt x="50" y="161"/>
                  </a:lnTo>
                  <a:lnTo>
                    <a:pt x="66" y="167"/>
                  </a:lnTo>
                  <a:lnTo>
                    <a:pt x="100" y="15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8" name="Freeform 85"/>
            <p:cNvSpPr>
              <a:spLocks/>
            </p:cNvSpPr>
            <p:nvPr/>
          </p:nvSpPr>
          <p:spPr bwMode="auto">
            <a:xfrm>
              <a:off x="3194" y="3676"/>
              <a:ext cx="605" cy="538"/>
            </a:xfrm>
            <a:custGeom>
              <a:avLst/>
              <a:gdLst>
                <a:gd name="T0" fmla="*/ 23 w 290"/>
                <a:gd name="T1" fmla="*/ 178 h 258"/>
                <a:gd name="T2" fmla="*/ 28 w 290"/>
                <a:gd name="T3" fmla="*/ 185 h 258"/>
                <a:gd name="T4" fmla="*/ 45 w 290"/>
                <a:gd name="T5" fmla="*/ 192 h 258"/>
                <a:gd name="T6" fmla="*/ 67 w 290"/>
                <a:gd name="T7" fmla="*/ 202 h 258"/>
                <a:gd name="T8" fmla="*/ 85 w 290"/>
                <a:gd name="T9" fmla="*/ 210 h 258"/>
                <a:gd name="T10" fmla="*/ 97 w 290"/>
                <a:gd name="T11" fmla="*/ 222 h 258"/>
                <a:gd name="T12" fmla="*/ 107 w 290"/>
                <a:gd name="T13" fmla="*/ 223 h 258"/>
                <a:gd name="T14" fmla="*/ 113 w 290"/>
                <a:gd name="T15" fmla="*/ 212 h 258"/>
                <a:gd name="T16" fmla="*/ 133 w 290"/>
                <a:gd name="T17" fmla="*/ 184 h 258"/>
                <a:gd name="T18" fmla="*/ 161 w 290"/>
                <a:gd name="T19" fmla="*/ 129 h 258"/>
                <a:gd name="T20" fmla="*/ 157 w 290"/>
                <a:gd name="T21" fmla="*/ 110 h 258"/>
                <a:gd name="T22" fmla="*/ 158 w 290"/>
                <a:gd name="T23" fmla="*/ 69 h 258"/>
                <a:gd name="T24" fmla="*/ 146 w 290"/>
                <a:gd name="T25" fmla="*/ 51 h 258"/>
                <a:gd name="T26" fmla="*/ 161 w 290"/>
                <a:gd name="T27" fmla="*/ 48 h 258"/>
                <a:gd name="T28" fmla="*/ 166 w 290"/>
                <a:gd name="T29" fmla="*/ 38 h 258"/>
                <a:gd name="T30" fmla="*/ 182 w 290"/>
                <a:gd name="T31" fmla="*/ 37 h 258"/>
                <a:gd name="T32" fmla="*/ 186 w 290"/>
                <a:gd name="T33" fmla="*/ 25 h 258"/>
                <a:gd name="T34" fmla="*/ 198 w 290"/>
                <a:gd name="T35" fmla="*/ 32 h 258"/>
                <a:gd name="T36" fmla="*/ 206 w 290"/>
                <a:gd name="T37" fmla="*/ 32 h 258"/>
                <a:gd name="T38" fmla="*/ 219 w 290"/>
                <a:gd name="T39" fmla="*/ 26 h 258"/>
                <a:gd name="T40" fmla="*/ 232 w 290"/>
                <a:gd name="T41" fmla="*/ 25 h 258"/>
                <a:gd name="T42" fmla="*/ 236 w 290"/>
                <a:gd name="T43" fmla="*/ 13 h 258"/>
                <a:gd name="T44" fmla="*/ 249 w 290"/>
                <a:gd name="T45" fmla="*/ 0 h 258"/>
                <a:gd name="T46" fmla="*/ 250 w 290"/>
                <a:gd name="T47" fmla="*/ 11 h 258"/>
                <a:gd name="T48" fmla="*/ 255 w 290"/>
                <a:gd name="T49" fmla="*/ 23 h 258"/>
                <a:gd name="T50" fmla="*/ 265 w 290"/>
                <a:gd name="T51" fmla="*/ 40 h 258"/>
                <a:gd name="T52" fmla="*/ 273 w 290"/>
                <a:gd name="T53" fmla="*/ 50 h 258"/>
                <a:gd name="T54" fmla="*/ 289 w 290"/>
                <a:gd name="T55" fmla="*/ 59 h 258"/>
                <a:gd name="T56" fmla="*/ 288 w 290"/>
                <a:gd name="T57" fmla="*/ 75 h 258"/>
                <a:gd name="T58" fmla="*/ 265 w 290"/>
                <a:gd name="T59" fmla="*/ 99 h 258"/>
                <a:gd name="T60" fmla="*/ 255 w 290"/>
                <a:gd name="T61" fmla="*/ 114 h 258"/>
                <a:gd name="T62" fmla="*/ 266 w 290"/>
                <a:gd name="T63" fmla="*/ 129 h 258"/>
                <a:gd name="T64" fmla="*/ 252 w 290"/>
                <a:gd name="T65" fmla="*/ 153 h 258"/>
                <a:gd name="T66" fmla="*/ 233 w 290"/>
                <a:gd name="T67" fmla="*/ 170 h 258"/>
                <a:gd name="T68" fmla="*/ 221 w 290"/>
                <a:gd name="T69" fmla="*/ 190 h 258"/>
                <a:gd name="T70" fmla="*/ 195 w 290"/>
                <a:gd name="T71" fmla="*/ 200 h 258"/>
                <a:gd name="T72" fmla="*/ 184 w 290"/>
                <a:gd name="T73" fmla="*/ 208 h 258"/>
                <a:gd name="T74" fmla="*/ 184 w 290"/>
                <a:gd name="T75" fmla="*/ 229 h 258"/>
                <a:gd name="T76" fmla="*/ 182 w 290"/>
                <a:gd name="T77" fmla="*/ 237 h 258"/>
                <a:gd name="T78" fmla="*/ 176 w 290"/>
                <a:gd name="T79" fmla="*/ 246 h 258"/>
                <a:gd name="T80" fmla="*/ 156 w 290"/>
                <a:gd name="T81" fmla="*/ 238 h 258"/>
                <a:gd name="T82" fmla="*/ 122 w 290"/>
                <a:gd name="T83" fmla="*/ 245 h 258"/>
                <a:gd name="T84" fmla="*/ 102 w 290"/>
                <a:gd name="T85" fmla="*/ 257 h 258"/>
                <a:gd name="T86" fmla="*/ 73 w 290"/>
                <a:gd name="T87" fmla="*/ 243 h 258"/>
                <a:gd name="T88" fmla="*/ 58 w 290"/>
                <a:gd name="T89" fmla="*/ 225 h 258"/>
                <a:gd name="T90" fmla="*/ 35 w 290"/>
                <a:gd name="T91" fmla="*/ 219 h 258"/>
                <a:gd name="T92" fmla="*/ 11 w 290"/>
                <a:gd name="T93" fmla="*/ 215 h 258"/>
                <a:gd name="T94" fmla="*/ 0 w 290"/>
                <a:gd name="T95" fmla="*/ 205 h 258"/>
                <a:gd name="T96" fmla="*/ 9 w 290"/>
                <a:gd name="T97" fmla="*/ 19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0" h="258">
                  <a:moveTo>
                    <a:pt x="9" y="191"/>
                  </a:moveTo>
                  <a:cubicBezTo>
                    <a:pt x="23" y="178"/>
                    <a:pt x="23" y="178"/>
                    <a:pt x="23" y="178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8" y="185"/>
                    <a:pt x="28" y="185"/>
                    <a:pt x="28" y="185"/>
                  </a:cubicBezTo>
                  <a:cubicBezTo>
                    <a:pt x="36" y="191"/>
                    <a:pt x="36" y="191"/>
                    <a:pt x="36" y="191"/>
                  </a:cubicBezTo>
                  <a:cubicBezTo>
                    <a:pt x="45" y="192"/>
                    <a:pt x="45" y="192"/>
                    <a:pt x="45" y="192"/>
                  </a:cubicBezTo>
                  <a:cubicBezTo>
                    <a:pt x="60" y="204"/>
                    <a:pt x="60" y="204"/>
                    <a:pt x="60" y="204"/>
                  </a:cubicBezTo>
                  <a:cubicBezTo>
                    <a:pt x="67" y="202"/>
                    <a:pt x="67" y="202"/>
                    <a:pt x="67" y="202"/>
                  </a:cubicBezTo>
                  <a:cubicBezTo>
                    <a:pt x="77" y="211"/>
                    <a:pt x="77" y="211"/>
                    <a:pt x="77" y="211"/>
                  </a:cubicBezTo>
                  <a:cubicBezTo>
                    <a:pt x="85" y="210"/>
                    <a:pt x="85" y="210"/>
                    <a:pt x="85" y="210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97" y="222"/>
                    <a:pt x="97" y="222"/>
                    <a:pt x="97" y="222"/>
                  </a:cubicBezTo>
                  <a:cubicBezTo>
                    <a:pt x="102" y="228"/>
                    <a:pt x="102" y="228"/>
                    <a:pt x="102" y="228"/>
                  </a:cubicBezTo>
                  <a:cubicBezTo>
                    <a:pt x="107" y="223"/>
                    <a:pt x="107" y="223"/>
                    <a:pt x="107" y="223"/>
                  </a:cubicBezTo>
                  <a:cubicBezTo>
                    <a:pt x="112" y="223"/>
                    <a:pt x="112" y="223"/>
                    <a:pt x="112" y="223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30" y="194"/>
                    <a:pt x="130" y="194"/>
                    <a:pt x="130" y="194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59" y="156"/>
                    <a:pt x="159" y="156"/>
                    <a:pt x="159" y="156"/>
                  </a:cubicBezTo>
                  <a:cubicBezTo>
                    <a:pt x="161" y="129"/>
                    <a:pt x="161" y="129"/>
                    <a:pt x="161" y="129"/>
                  </a:cubicBezTo>
                  <a:cubicBezTo>
                    <a:pt x="166" y="113"/>
                    <a:pt x="166" y="113"/>
                    <a:pt x="166" y="113"/>
                  </a:cubicBezTo>
                  <a:cubicBezTo>
                    <a:pt x="157" y="110"/>
                    <a:pt x="157" y="110"/>
                    <a:pt x="157" y="110"/>
                  </a:cubicBezTo>
                  <a:cubicBezTo>
                    <a:pt x="152" y="78"/>
                    <a:pt x="152" y="78"/>
                    <a:pt x="152" y="78"/>
                  </a:cubicBezTo>
                  <a:cubicBezTo>
                    <a:pt x="158" y="69"/>
                    <a:pt x="158" y="69"/>
                    <a:pt x="158" y="69"/>
                  </a:cubicBezTo>
                  <a:cubicBezTo>
                    <a:pt x="149" y="63"/>
                    <a:pt x="149" y="63"/>
                    <a:pt x="149" y="63"/>
                  </a:cubicBezTo>
                  <a:cubicBezTo>
                    <a:pt x="146" y="51"/>
                    <a:pt x="146" y="51"/>
                    <a:pt x="146" y="51"/>
                  </a:cubicBezTo>
                  <a:cubicBezTo>
                    <a:pt x="154" y="46"/>
                    <a:pt x="154" y="46"/>
                    <a:pt x="154" y="46"/>
                  </a:cubicBezTo>
                  <a:cubicBezTo>
                    <a:pt x="161" y="48"/>
                    <a:pt x="161" y="48"/>
                    <a:pt x="161" y="48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6" y="38"/>
                    <a:pt x="166" y="38"/>
                    <a:pt x="166" y="38"/>
                  </a:cubicBezTo>
                  <a:cubicBezTo>
                    <a:pt x="174" y="40"/>
                    <a:pt x="174" y="40"/>
                    <a:pt x="174" y="40"/>
                  </a:cubicBezTo>
                  <a:cubicBezTo>
                    <a:pt x="182" y="37"/>
                    <a:pt x="182" y="37"/>
                    <a:pt x="182" y="37"/>
                  </a:cubicBezTo>
                  <a:cubicBezTo>
                    <a:pt x="181" y="31"/>
                    <a:pt x="181" y="31"/>
                    <a:pt x="181" y="31"/>
                  </a:cubicBezTo>
                  <a:cubicBezTo>
                    <a:pt x="186" y="25"/>
                    <a:pt x="186" y="25"/>
                    <a:pt x="186" y="25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198" y="32"/>
                    <a:pt x="198" y="32"/>
                    <a:pt x="198" y="32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6" y="32"/>
                    <a:pt x="206" y="32"/>
                    <a:pt x="206" y="32"/>
                  </a:cubicBezTo>
                  <a:cubicBezTo>
                    <a:pt x="216" y="32"/>
                    <a:pt x="216" y="32"/>
                    <a:pt x="216" y="32"/>
                  </a:cubicBezTo>
                  <a:cubicBezTo>
                    <a:pt x="219" y="26"/>
                    <a:pt x="219" y="26"/>
                    <a:pt x="219" y="26"/>
                  </a:cubicBezTo>
                  <a:cubicBezTo>
                    <a:pt x="226" y="31"/>
                    <a:pt x="226" y="31"/>
                    <a:pt x="226" y="31"/>
                  </a:cubicBezTo>
                  <a:cubicBezTo>
                    <a:pt x="232" y="25"/>
                    <a:pt x="232" y="25"/>
                    <a:pt x="232" y="25"/>
                  </a:cubicBezTo>
                  <a:cubicBezTo>
                    <a:pt x="238" y="25"/>
                    <a:pt x="238" y="25"/>
                    <a:pt x="238" y="25"/>
                  </a:cubicBezTo>
                  <a:cubicBezTo>
                    <a:pt x="236" y="13"/>
                    <a:pt x="236" y="13"/>
                    <a:pt x="236" y="13"/>
                  </a:cubicBezTo>
                  <a:cubicBezTo>
                    <a:pt x="244" y="6"/>
                    <a:pt x="244" y="6"/>
                    <a:pt x="244" y="6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57" y="4"/>
                    <a:pt x="257" y="4"/>
                    <a:pt x="257" y="4"/>
                  </a:cubicBezTo>
                  <a:cubicBezTo>
                    <a:pt x="250" y="11"/>
                    <a:pt x="250" y="11"/>
                    <a:pt x="250" y="11"/>
                  </a:cubicBezTo>
                  <a:cubicBezTo>
                    <a:pt x="248" y="19"/>
                    <a:pt x="248" y="19"/>
                    <a:pt x="248" y="19"/>
                  </a:cubicBezTo>
                  <a:cubicBezTo>
                    <a:pt x="255" y="23"/>
                    <a:pt x="255" y="23"/>
                    <a:pt x="255" y="23"/>
                  </a:cubicBezTo>
                  <a:cubicBezTo>
                    <a:pt x="258" y="33"/>
                    <a:pt x="258" y="33"/>
                    <a:pt x="258" y="33"/>
                  </a:cubicBezTo>
                  <a:cubicBezTo>
                    <a:pt x="265" y="40"/>
                    <a:pt x="265" y="40"/>
                    <a:pt x="265" y="40"/>
                  </a:cubicBezTo>
                  <a:cubicBezTo>
                    <a:pt x="267" y="50"/>
                    <a:pt x="267" y="50"/>
                    <a:pt x="267" y="50"/>
                  </a:cubicBezTo>
                  <a:cubicBezTo>
                    <a:pt x="273" y="50"/>
                    <a:pt x="273" y="50"/>
                    <a:pt x="273" y="50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89" y="59"/>
                    <a:pt x="289" y="59"/>
                    <a:pt x="289" y="59"/>
                  </a:cubicBezTo>
                  <a:cubicBezTo>
                    <a:pt x="290" y="70"/>
                    <a:pt x="290" y="70"/>
                    <a:pt x="290" y="70"/>
                  </a:cubicBezTo>
                  <a:cubicBezTo>
                    <a:pt x="288" y="75"/>
                    <a:pt x="288" y="75"/>
                    <a:pt x="288" y="75"/>
                  </a:cubicBezTo>
                  <a:cubicBezTo>
                    <a:pt x="279" y="77"/>
                    <a:pt x="279" y="77"/>
                    <a:pt x="279" y="77"/>
                  </a:cubicBezTo>
                  <a:cubicBezTo>
                    <a:pt x="265" y="99"/>
                    <a:pt x="265" y="99"/>
                    <a:pt x="265" y="99"/>
                  </a:cubicBezTo>
                  <a:cubicBezTo>
                    <a:pt x="257" y="106"/>
                    <a:pt x="257" y="106"/>
                    <a:pt x="257" y="106"/>
                  </a:cubicBezTo>
                  <a:cubicBezTo>
                    <a:pt x="255" y="114"/>
                    <a:pt x="255" y="114"/>
                    <a:pt x="255" y="114"/>
                  </a:cubicBezTo>
                  <a:cubicBezTo>
                    <a:pt x="261" y="123"/>
                    <a:pt x="261" y="123"/>
                    <a:pt x="261" y="123"/>
                  </a:cubicBezTo>
                  <a:cubicBezTo>
                    <a:pt x="266" y="129"/>
                    <a:pt x="266" y="129"/>
                    <a:pt x="266" y="129"/>
                  </a:cubicBezTo>
                  <a:cubicBezTo>
                    <a:pt x="265" y="139"/>
                    <a:pt x="265" y="139"/>
                    <a:pt x="265" y="139"/>
                  </a:cubicBezTo>
                  <a:cubicBezTo>
                    <a:pt x="252" y="153"/>
                    <a:pt x="252" y="153"/>
                    <a:pt x="252" y="153"/>
                  </a:cubicBezTo>
                  <a:cubicBezTo>
                    <a:pt x="235" y="160"/>
                    <a:pt x="235" y="160"/>
                    <a:pt x="235" y="160"/>
                  </a:cubicBezTo>
                  <a:cubicBezTo>
                    <a:pt x="233" y="170"/>
                    <a:pt x="233" y="170"/>
                    <a:pt x="233" y="170"/>
                  </a:cubicBezTo>
                  <a:cubicBezTo>
                    <a:pt x="224" y="178"/>
                    <a:pt x="224" y="178"/>
                    <a:pt x="224" y="178"/>
                  </a:cubicBezTo>
                  <a:cubicBezTo>
                    <a:pt x="221" y="190"/>
                    <a:pt x="221" y="190"/>
                    <a:pt x="221" y="190"/>
                  </a:cubicBezTo>
                  <a:cubicBezTo>
                    <a:pt x="209" y="189"/>
                    <a:pt x="209" y="189"/>
                    <a:pt x="209" y="189"/>
                  </a:cubicBezTo>
                  <a:cubicBezTo>
                    <a:pt x="195" y="200"/>
                    <a:pt x="195" y="200"/>
                    <a:pt x="195" y="200"/>
                  </a:cubicBezTo>
                  <a:cubicBezTo>
                    <a:pt x="184" y="200"/>
                    <a:pt x="184" y="200"/>
                    <a:pt x="184" y="200"/>
                  </a:cubicBezTo>
                  <a:cubicBezTo>
                    <a:pt x="184" y="208"/>
                    <a:pt x="184" y="208"/>
                    <a:pt x="184" y="208"/>
                  </a:cubicBezTo>
                  <a:cubicBezTo>
                    <a:pt x="183" y="214"/>
                    <a:pt x="183" y="214"/>
                    <a:pt x="183" y="214"/>
                  </a:cubicBezTo>
                  <a:cubicBezTo>
                    <a:pt x="184" y="229"/>
                    <a:pt x="184" y="229"/>
                    <a:pt x="184" y="229"/>
                  </a:cubicBezTo>
                  <a:cubicBezTo>
                    <a:pt x="191" y="229"/>
                    <a:pt x="191" y="229"/>
                    <a:pt x="191" y="229"/>
                  </a:cubicBezTo>
                  <a:cubicBezTo>
                    <a:pt x="182" y="237"/>
                    <a:pt x="182" y="237"/>
                    <a:pt x="182" y="237"/>
                  </a:cubicBezTo>
                  <a:cubicBezTo>
                    <a:pt x="181" y="244"/>
                    <a:pt x="181" y="244"/>
                    <a:pt x="181" y="244"/>
                  </a:cubicBezTo>
                  <a:cubicBezTo>
                    <a:pt x="180" y="243"/>
                    <a:pt x="177" y="245"/>
                    <a:pt x="176" y="246"/>
                  </a:cubicBezTo>
                  <a:cubicBezTo>
                    <a:pt x="173" y="247"/>
                    <a:pt x="165" y="248"/>
                    <a:pt x="164" y="244"/>
                  </a:cubicBezTo>
                  <a:cubicBezTo>
                    <a:pt x="164" y="239"/>
                    <a:pt x="159" y="238"/>
                    <a:pt x="156" y="238"/>
                  </a:cubicBezTo>
                  <a:cubicBezTo>
                    <a:pt x="153" y="237"/>
                    <a:pt x="152" y="244"/>
                    <a:pt x="146" y="241"/>
                  </a:cubicBezTo>
                  <a:cubicBezTo>
                    <a:pt x="139" y="237"/>
                    <a:pt x="127" y="243"/>
                    <a:pt x="122" y="245"/>
                  </a:cubicBezTo>
                  <a:cubicBezTo>
                    <a:pt x="117" y="246"/>
                    <a:pt x="115" y="252"/>
                    <a:pt x="112" y="253"/>
                  </a:cubicBezTo>
                  <a:cubicBezTo>
                    <a:pt x="109" y="253"/>
                    <a:pt x="104" y="258"/>
                    <a:pt x="102" y="257"/>
                  </a:cubicBezTo>
                  <a:cubicBezTo>
                    <a:pt x="100" y="257"/>
                    <a:pt x="86" y="254"/>
                    <a:pt x="80" y="251"/>
                  </a:cubicBezTo>
                  <a:cubicBezTo>
                    <a:pt x="74" y="247"/>
                    <a:pt x="74" y="247"/>
                    <a:pt x="73" y="243"/>
                  </a:cubicBezTo>
                  <a:cubicBezTo>
                    <a:pt x="72" y="239"/>
                    <a:pt x="70" y="234"/>
                    <a:pt x="68" y="228"/>
                  </a:cubicBezTo>
                  <a:cubicBezTo>
                    <a:pt x="67" y="223"/>
                    <a:pt x="63" y="225"/>
                    <a:pt x="58" y="225"/>
                  </a:cubicBezTo>
                  <a:cubicBezTo>
                    <a:pt x="52" y="225"/>
                    <a:pt x="48" y="224"/>
                    <a:pt x="47" y="223"/>
                  </a:cubicBezTo>
                  <a:cubicBezTo>
                    <a:pt x="47" y="222"/>
                    <a:pt x="41" y="219"/>
                    <a:pt x="35" y="219"/>
                  </a:cubicBezTo>
                  <a:cubicBezTo>
                    <a:pt x="29" y="220"/>
                    <a:pt x="27" y="220"/>
                    <a:pt x="22" y="219"/>
                  </a:cubicBezTo>
                  <a:cubicBezTo>
                    <a:pt x="16" y="218"/>
                    <a:pt x="15" y="218"/>
                    <a:pt x="11" y="215"/>
                  </a:cubicBezTo>
                  <a:cubicBezTo>
                    <a:pt x="9" y="213"/>
                    <a:pt x="7" y="214"/>
                    <a:pt x="6" y="216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4" y="198"/>
                    <a:pt x="4" y="198"/>
                    <a:pt x="4" y="198"/>
                  </a:cubicBezTo>
                  <a:lnTo>
                    <a:pt x="9" y="191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9" name="Freeform 86"/>
            <p:cNvSpPr>
              <a:spLocks noEditPoints="1"/>
            </p:cNvSpPr>
            <p:nvPr/>
          </p:nvSpPr>
          <p:spPr bwMode="auto">
            <a:xfrm>
              <a:off x="2836" y="4039"/>
              <a:ext cx="377" cy="248"/>
            </a:xfrm>
            <a:custGeom>
              <a:avLst/>
              <a:gdLst>
                <a:gd name="T0" fmla="*/ 0 w 181"/>
                <a:gd name="T1" fmla="*/ 67 h 119"/>
                <a:gd name="T2" fmla="*/ 13 w 181"/>
                <a:gd name="T3" fmla="*/ 68 h 119"/>
                <a:gd name="T4" fmla="*/ 21 w 181"/>
                <a:gd name="T5" fmla="*/ 62 h 119"/>
                <a:gd name="T6" fmla="*/ 21 w 181"/>
                <a:gd name="T7" fmla="*/ 53 h 119"/>
                <a:gd name="T8" fmla="*/ 27 w 181"/>
                <a:gd name="T9" fmla="*/ 52 h 119"/>
                <a:gd name="T10" fmla="*/ 39 w 181"/>
                <a:gd name="T11" fmla="*/ 59 h 119"/>
                <a:gd name="T12" fmla="*/ 53 w 181"/>
                <a:gd name="T13" fmla="*/ 60 h 119"/>
                <a:gd name="T14" fmla="*/ 66 w 181"/>
                <a:gd name="T15" fmla="*/ 59 h 119"/>
                <a:gd name="T16" fmla="*/ 78 w 181"/>
                <a:gd name="T17" fmla="*/ 50 h 119"/>
                <a:gd name="T18" fmla="*/ 85 w 181"/>
                <a:gd name="T19" fmla="*/ 50 h 119"/>
                <a:gd name="T20" fmla="*/ 85 w 181"/>
                <a:gd name="T21" fmla="*/ 40 h 119"/>
                <a:gd name="T22" fmla="*/ 91 w 181"/>
                <a:gd name="T23" fmla="*/ 35 h 119"/>
                <a:gd name="T24" fmla="*/ 90 w 181"/>
                <a:gd name="T25" fmla="*/ 29 h 119"/>
                <a:gd name="T26" fmla="*/ 98 w 181"/>
                <a:gd name="T27" fmla="*/ 26 h 119"/>
                <a:gd name="T28" fmla="*/ 100 w 181"/>
                <a:gd name="T29" fmla="*/ 13 h 119"/>
                <a:gd name="T30" fmla="*/ 108 w 181"/>
                <a:gd name="T31" fmla="*/ 11 h 119"/>
                <a:gd name="T32" fmla="*/ 114 w 181"/>
                <a:gd name="T33" fmla="*/ 11 h 119"/>
                <a:gd name="T34" fmla="*/ 117 w 181"/>
                <a:gd name="T35" fmla="*/ 8 h 119"/>
                <a:gd name="T36" fmla="*/ 127 w 181"/>
                <a:gd name="T37" fmla="*/ 6 h 119"/>
                <a:gd name="T38" fmla="*/ 133 w 181"/>
                <a:gd name="T39" fmla="*/ 4 h 119"/>
                <a:gd name="T40" fmla="*/ 135 w 181"/>
                <a:gd name="T41" fmla="*/ 0 h 119"/>
                <a:gd name="T42" fmla="*/ 144 w 181"/>
                <a:gd name="T43" fmla="*/ 2 h 119"/>
                <a:gd name="T44" fmla="*/ 155 w 181"/>
                <a:gd name="T45" fmla="*/ 5 h 119"/>
                <a:gd name="T46" fmla="*/ 164 w 181"/>
                <a:gd name="T47" fmla="*/ 12 h 119"/>
                <a:gd name="T48" fmla="*/ 176 w 181"/>
                <a:gd name="T49" fmla="*/ 10 h 119"/>
                <a:gd name="T50" fmla="*/ 181 w 181"/>
                <a:gd name="T51" fmla="*/ 17 h 119"/>
                <a:gd name="T52" fmla="*/ 176 w 181"/>
                <a:gd name="T53" fmla="*/ 24 h 119"/>
                <a:gd name="T54" fmla="*/ 172 w 181"/>
                <a:gd name="T55" fmla="*/ 31 h 119"/>
                <a:gd name="T56" fmla="*/ 178 w 181"/>
                <a:gd name="T57" fmla="*/ 42 h 119"/>
                <a:gd name="T58" fmla="*/ 178 w 181"/>
                <a:gd name="T59" fmla="*/ 45 h 119"/>
                <a:gd name="T60" fmla="*/ 172 w 181"/>
                <a:gd name="T61" fmla="*/ 51 h 119"/>
                <a:gd name="T62" fmla="*/ 167 w 181"/>
                <a:gd name="T63" fmla="*/ 59 h 119"/>
                <a:gd name="T64" fmla="*/ 162 w 181"/>
                <a:gd name="T65" fmla="*/ 72 h 119"/>
                <a:gd name="T66" fmla="*/ 169 w 181"/>
                <a:gd name="T67" fmla="*/ 85 h 119"/>
                <a:gd name="T68" fmla="*/ 171 w 181"/>
                <a:gd name="T69" fmla="*/ 99 h 119"/>
                <a:gd name="T70" fmla="*/ 163 w 181"/>
                <a:gd name="T71" fmla="*/ 107 h 119"/>
                <a:gd name="T72" fmla="*/ 152 w 181"/>
                <a:gd name="T73" fmla="*/ 109 h 119"/>
                <a:gd name="T74" fmla="*/ 144 w 181"/>
                <a:gd name="T75" fmla="*/ 108 h 119"/>
                <a:gd name="T76" fmla="*/ 135 w 181"/>
                <a:gd name="T77" fmla="*/ 106 h 119"/>
                <a:gd name="T78" fmla="*/ 126 w 181"/>
                <a:gd name="T79" fmla="*/ 109 h 119"/>
                <a:gd name="T80" fmla="*/ 114 w 181"/>
                <a:gd name="T81" fmla="*/ 108 h 119"/>
                <a:gd name="T82" fmla="*/ 101 w 181"/>
                <a:gd name="T83" fmla="*/ 101 h 119"/>
                <a:gd name="T84" fmla="*/ 99 w 181"/>
                <a:gd name="T85" fmla="*/ 92 h 119"/>
                <a:gd name="T86" fmla="*/ 88 w 181"/>
                <a:gd name="T87" fmla="*/ 91 h 119"/>
                <a:gd name="T88" fmla="*/ 80 w 181"/>
                <a:gd name="T89" fmla="*/ 92 h 119"/>
                <a:gd name="T90" fmla="*/ 69 w 181"/>
                <a:gd name="T91" fmla="*/ 88 h 119"/>
                <a:gd name="T92" fmla="*/ 61 w 181"/>
                <a:gd name="T93" fmla="*/ 87 h 119"/>
                <a:gd name="T94" fmla="*/ 55 w 181"/>
                <a:gd name="T95" fmla="*/ 90 h 119"/>
                <a:gd name="T96" fmla="*/ 47 w 181"/>
                <a:gd name="T97" fmla="*/ 94 h 119"/>
                <a:gd name="T98" fmla="*/ 41 w 181"/>
                <a:gd name="T99" fmla="*/ 97 h 119"/>
                <a:gd name="T100" fmla="*/ 34 w 181"/>
                <a:gd name="T101" fmla="*/ 102 h 119"/>
                <a:gd name="T102" fmla="*/ 24 w 181"/>
                <a:gd name="T103" fmla="*/ 107 h 119"/>
                <a:gd name="T104" fmla="*/ 16 w 181"/>
                <a:gd name="T105" fmla="*/ 112 h 119"/>
                <a:gd name="T106" fmla="*/ 13 w 181"/>
                <a:gd name="T107" fmla="*/ 114 h 119"/>
                <a:gd name="T108" fmla="*/ 11 w 181"/>
                <a:gd name="T109" fmla="*/ 112 h 119"/>
                <a:gd name="T110" fmla="*/ 5 w 181"/>
                <a:gd name="T111" fmla="*/ 105 h 119"/>
                <a:gd name="T112" fmla="*/ 14 w 181"/>
                <a:gd name="T113" fmla="*/ 101 h 119"/>
                <a:gd name="T114" fmla="*/ 14 w 181"/>
                <a:gd name="T115" fmla="*/ 96 h 119"/>
                <a:gd name="T116" fmla="*/ 2 w 181"/>
                <a:gd name="T117" fmla="*/ 83 h 119"/>
                <a:gd name="T118" fmla="*/ 0 w 181"/>
                <a:gd name="T119" fmla="*/ 67 h 119"/>
                <a:gd name="T120" fmla="*/ 13 w 181"/>
                <a:gd name="T121" fmla="*/ 119 h 119"/>
                <a:gd name="T122" fmla="*/ 13 w 181"/>
                <a:gd name="T123" fmla="*/ 119 h 119"/>
                <a:gd name="T124" fmla="*/ 13 w 181"/>
                <a:gd name="T125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1" h="119">
                  <a:moveTo>
                    <a:pt x="0" y="67"/>
                  </a:moveTo>
                  <a:cubicBezTo>
                    <a:pt x="13" y="68"/>
                    <a:pt x="13" y="68"/>
                    <a:pt x="13" y="68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27" y="6"/>
                    <a:pt x="127" y="6"/>
                    <a:pt x="127" y="6"/>
                  </a:cubicBezTo>
                  <a:cubicBezTo>
                    <a:pt x="133" y="4"/>
                    <a:pt x="133" y="4"/>
                    <a:pt x="133" y="4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4" y="2"/>
                    <a:pt x="144" y="2"/>
                    <a:pt x="144" y="2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64" y="12"/>
                    <a:pt x="164" y="12"/>
                    <a:pt x="164" y="12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8" y="42"/>
                    <a:pt x="178" y="42"/>
                    <a:pt x="178" y="42"/>
                  </a:cubicBezTo>
                  <a:cubicBezTo>
                    <a:pt x="178" y="43"/>
                    <a:pt x="178" y="44"/>
                    <a:pt x="178" y="45"/>
                  </a:cubicBezTo>
                  <a:cubicBezTo>
                    <a:pt x="178" y="48"/>
                    <a:pt x="175" y="48"/>
                    <a:pt x="172" y="51"/>
                  </a:cubicBezTo>
                  <a:cubicBezTo>
                    <a:pt x="168" y="53"/>
                    <a:pt x="170" y="58"/>
                    <a:pt x="167" y="59"/>
                  </a:cubicBezTo>
                  <a:cubicBezTo>
                    <a:pt x="164" y="60"/>
                    <a:pt x="162" y="68"/>
                    <a:pt x="162" y="72"/>
                  </a:cubicBezTo>
                  <a:cubicBezTo>
                    <a:pt x="162" y="77"/>
                    <a:pt x="164" y="80"/>
                    <a:pt x="169" y="85"/>
                  </a:cubicBezTo>
                  <a:cubicBezTo>
                    <a:pt x="173" y="91"/>
                    <a:pt x="175" y="97"/>
                    <a:pt x="171" y="99"/>
                  </a:cubicBezTo>
                  <a:cubicBezTo>
                    <a:pt x="167" y="101"/>
                    <a:pt x="168" y="102"/>
                    <a:pt x="163" y="107"/>
                  </a:cubicBezTo>
                  <a:cubicBezTo>
                    <a:pt x="158" y="112"/>
                    <a:pt x="154" y="112"/>
                    <a:pt x="152" y="109"/>
                  </a:cubicBezTo>
                  <a:cubicBezTo>
                    <a:pt x="150" y="106"/>
                    <a:pt x="146" y="108"/>
                    <a:pt x="144" y="108"/>
                  </a:cubicBezTo>
                  <a:cubicBezTo>
                    <a:pt x="142" y="108"/>
                    <a:pt x="136" y="108"/>
                    <a:pt x="135" y="106"/>
                  </a:cubicBezTo>
                  <a:cubicBezTo>
                    <a:pt x="133" y="104"/>
                    <a:pt x="128" y="106"/>
                    <a:pt x="126" y="109"/>
                  </a:cubicBezTo>
                  <a:cubicBezTo>
                    <a:pt x="123" y="111"/>
                    <a:pt x="119" y="109"/>
                    <a:pt x="114" y="108"/>
                  </a:cubicBezTo>
                  <a:cubicBezTo>
                    <a:pt x="110" y="108"/>
                    <a:pt x="103" y="104"/>
                    <a:pt x="101" y="101"/>
                  </a:cubicBezTo>
                  <a:cubicBezTo>
                    <a:pt x="100" y="98"/>
                    <a:pt x="100" y="94"/>
                    <a:pt x="99" y="92"/>
                  </a:cubicBezTo>
                  <a:cubicBezTo>
                    <a:pt x="99" y="91"/>
                    <a:pt x="90" y="92"/>
                    <a:pt x="88" y="91"/>
                  </a:cubicBezTo>
                  <a:cubicBezTo>
                    <a:pt x="87" y="90"/>
                    <a:pt x="82" y="92"/>
                    <a:pt x="80" y="92"/>
                  </a:cubicBezTo>
                  <a:cubicBezTo>
                    <a:pt x="79" y="92"/>
                    <a:pt x="71" y="90"/>
                    <a:pt x="69" y="88"/>
                  </a:cubicBezTo>
                  <a:cubicBezTo>
                    <a:pt x="66" y="85"/>
                    <a:pt x="65" y="87"/>
                    <a:pt x="61" y="87"/>
                  </a:cubicBezTo>
                  <a:cubicBezTo>
                    <a:pt x="58" y="87"/>
                    <a:pt x="57" y="90"/>
                    <a:pt x="55" y="90"/>
                  </a:cubicBezTo>
                  <a:cubicBezTo>
                    <a:pt x="53" y="90"/>
                    <a:pt x="48" y="92"/>
                    <a:pt x="47" y="94"/>
                  </a:cubicBezTo>
                  <a:cubicBezTo>
                    <a:pt x="45" y="96"/>
                    <a:pt x="44" y="97"/>
                    <a:pt x="41" y="97"/>
                  </a:cubicBezTo>
                  <a:cubicBezTo>
                    <a:pt x="38" y="98"/>
                    <a:pt x="37" y="101"/>
                    <a:pt x="34" y="102"/>
                  </a:cubicBezTo>
                  <a:cubicBezTo>
                    <a:pt x="32" y="103"/>
                    <a:pt x="27" y="105"/>
                    <a:pt x="24" y="107"/>
                  </a:cubicBezTo>
                  <a:cubicBezTo>
                    <a:pt x="22" y="108"/>
                    <a:pt x="20" y="112"/>
                    <a:pt x="16" y="112"/>
                  </a:cubicBezTo>
                  <a:cubicBezTo>
                    <a:pt x="15" y="112"/>
                    <a:pt x="14" y="113"/>
                    <a:pt x="13" y="114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14" y="101"/>
                    <a:pt x="14" y="101"/>
                    <a:pt x="14" y="101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0" y="67"/>
                    <a:pt x="0" y="67"/>
                    <a:pt x="0" y="67"/>
                  </a:cubicBezTo>
                  <a:close/>
                  <a:moveTo>
                    <a:pt x="13" y="119"/>
                  </a:move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0" name="Freeform 87"/>
            <p:cNvSpPr>
              <a:spLocks/>
            </p:cNvSpPr>
            <p:nvPr/>
          </p:nvSpPr>
          <p:spPr bwMode="auto">
            <a:xfrm>
              <a:off x="2646" y="4110"/>
              <a:ext cx="219" cy="212"/>
            </a:xfrm>
            <a:custGeom>
              <a:avLst/>
              <a:gdLst>
                <a:gd name="T0" fmla="*/ 1 w 105"/>
                <a:gd name="T1" fmla="*/ 57 h 102"/>
                <a:gd name="T2" fmla="*/ 0 w 105"/>
                <a:gd name="T3" fmla="*/ 65 h 102"/>
                <a:gd name="T4" fmla="*/ 8 w 105"/>
                <a:gd name="T5" fmla="*/ 69 h 102"/>
                <a:gd name="T6" fmla="*/ 16 w 105"/>
                <a:gd name="T7" fmla="*/ 78 h 102"/>
                <a:gd name="T8" fmla="*/ 18 w 105"/>
                <a:gd name="T9" fmla="*/ 86 h 102"/>
                <a:gd name="T10" fmla="*/ 29 w 105"/>
                <a:gd name="T11" fmla="*/ 88 h 102"/>
                <a:gd name="T12" fmla="*/ 38 w 105"/>
                <a:gd name="T13" fmla="*/ 88 h 102"/>
                <a:gd name="T14" fmla="*/ 46 w 105"/>
                <a:gd name="T15" fmla="*/ 82 h 102"/>
                <a:gd name="T16" fmla="*/ 46 w 105"/>
                <a:gd name="T17" fmla="*/ 88 h 102"/>
                <a:gd name="T18" fmla="*/ 52 w 105"/>
                <a:gd name="T19" fmla="*/ 95 h 102"/>
                <a:gd name="T20" fmla="*/ 62 w 105"/>
                <a:gd name="T21" fmla="*/ 102 h 102"/>
                <a:gd name="T22" fmla="*/ 72 w 105"/>
                <a:gd name="T23" fmla="*/ 99 h 102"/>
                <a:gd name="T24" fmla="*/ 79 w 105"/>
                <a:gd name="T25" fmla="*/ 92 h 102"/>
                <a:gd name="T26" fmla="*/ 91 w 105"/>
                <a:gd name="T27" fmla="*/ 92 h 102"/>
                <a:gd name="T28" fmla="*/ 104 w 105"/>
                <a:gd name="T29" fmla="*/ 85 h 102"/>
                <a:gd name="T30" fmla="*/ 104 w 105"/>
                <a:gd name="T31" fmla="*/ 80 h 102"/>
                <a:gd name="T32" fmla="*/ 102 w 105"/>
                <a:gd name="T33" fmla="*/ 78 h 102"/>
                <a:gd name="T34" fmla="*/ 96 w 105"/>
                <a:gd name="T35" fmla="*/ 71 h 102"/>
                <a:gd name="T36" fmla="*/ 105 w 105"/>
                <a:gd name="T37" fmla="*/ 67 h 102"/>
                <a:gd name="T38" fmla="*/ 105 w 105"/>
                <a:gd name="T39" fmla="*/ 62 h 102"/>
                <a:gd name="T40" fmla="*/ 93 w 105"/>
                <a:gd name="T41" fmla="*/ 49 h 102"/>
                <a:gd name="T42" fmla="*/ 91 w 105"/>
                <a:gd name="T43" fmla="*/ 33 h 102"/>
                <a:gd name="T44" fmla="*/ 85 w 105"/>
                <a:gd name="T45" fmla="*/ 33 h 102"/>
                <a:gd name="T46" fmla="*/ 82 w 105"/>
                <a:gd name="T47" fmla="*/ 41 h 102"/>
                <a:gd name="T48" fmla="*/ 76 w 105"/>
                <a:gd name="T49" fmla="*/ 40 h 102"/>
                <a:gd name="T50" fmla="*/ 70 w 105"/>
                <a:gd name="T51" fmla="*/ 34 h 102"/>
                <a:gd name="T52" fmla="*/ 73 w 105"/>
                <a:gd name="T53" fmla="*/ 31 h 102"/>
                <a:gd name="T54" fmla="*/ 73 w 105"/>
                <a:gd name="T55" fmla="*/ 24 h 102"/>
                <a:gd name="T56" fmla="*/ 81 w 105"/>
                <a:gd name="T57" fmla="*/ 14 h 102"/>
                <a:gd name="T58" fmla="*/ 81 w 105"/>
                <a:gd name="T59" fmla="*/ 9 h 102"/>
                <a:gd name="T60" fmla="*/ 76 w 105"/>
                <a:gd name="T61" fmla="*/ 8 h 102"/>
                <a:gd name="T62" fmla="*/ 69 w 105"/>
                <a:gd name="T63" fmla="*/ 4 h 102"/>
                <a:gd name="T64" fmla="*/ 63 w 105"/>
                <a:gd name="T65" fmla="*/ 5 h 102"/>
                <a:gd name="T66" fmla="*/ 57 w 105"/>
                <a:gd name="T67" fmla="*/ 0 h 102"/>
                <a:gd name="T68" fmla="*/ 50 w 105"/>
                <a:gd name="T69" fmla="*/ 5 h 102"/>
                <a:gd name="T70" fmla="*/ 54 w 105"/>
                <a:gd name="T71" fmla="*/ 11 h 102"/>
                <a:gd name="T72" fmla="*/ 48 w 105"/>
                <a:gd name="T73" fmla="*/ 18 h 102"/>
                <a:gd name="T74" fmla="*/ 43 w 105"/>
                <a:gd name="T75" fmla="*/ 20 h 102"/>
                <a:gd name="T76" fmla="*/ 38 w 105"/>
                <a:gd name="T77" fmla="*/ 16 h 102"/>
                <a:gd name="T78" fmla="*/ 34 w 105"/>
                <a:gd name="T79" fmla="*/ 19 h 102"/>
                <a:gd name="T80" fmla="*/ 33 w 105"/>
                <a:gd name="T81" fmla="*/ 26 h 102"/>
                <a:gd name="T82" fmla="*/ 24 w 105"/>
                <a:gd name="T83" fmla="*/ 34 h 102"/>
                <a:gd name="T84" fmla="*/ 17 w 105"/>
                <a:gd name="T85" fmla="*/ 34 h 102"/>
                <a:gd name="T86" fmla="*/ 0 w 105"/>
                <a:gd name="T87" fmla="*/ 41 h 102"/>
                <a:gd name="T88" fmla="*/ 7 w 105"/>
                <a:gd name="T89" fmla="*/ 49 h 102"/>
                <a:gd name="T90" fmla="*/ 9 w 105"/>
                <a:gd name="T91" fmla="*/ 56 h 102"/>
                <a:gd name="T92" fmla="*/ 1 w 105"/>
                <a:gd name="T93" fmla="*/ 5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5" h="102">
                  <a:moveTo>
                    <a:pt x="1" y="57"/>
                  </a:moveTo>
                  <a:cubicBezTo>
                    <a:pt x="1" y="61"/>
                    <a:pt x="0" y="64"/>
                    <a:pt x="0" y="65"/>
                  </a:cubicBezTo>
                  <a:cubicBezTo>
                    <a:pt x="0" y="67"/>
                    <a:pt x="6" y="67"/>
                    <a:pt x="8" y="69"/>
                  </a:cubicBezTo>
                  <a:cubicBezTo>
                    <a:pt x="11" y="71"/>
                    <a:pt x="15" y="74"/>
                    <a:pt x="16" y="78"/>
                  </a:cubicBezTo>
                  <a:cubicBezTo>
                    <a:pt x="16" y="81"/>
                    <a:pt x="18" y="86"/>
                    <a:pt x="18" y="86"/>
                  </a:cubicBezTo>
                  <a:cubicBezTo>
                    <a:pt x="18" y="86"/>
                    <a:pt x="28" y="86"/>
                    <a:pt x="29" y="88"/>
                  </a:cubicBezTo>
                  <a:cubicBezTo>
                    <a:pt x="30" y="89"/>
                    <a:pt x="36" y="91"/>
                    <a:pt x="38" y="88"/>
                  </a:cubicBezTo>
                  <a:cubicBezTo>
                    <a:pt x="40" y="85"/>
                    <a:pt x="45" y="81"/>
                    <a:pt x="46" y="82"/>
                  </a:cubicBezTo>
                  <a:cubicBezTo>
                    <a:pt x="46" y="83"/>
                    <a:pt x="46" y="86"/>
                    <a:pt x="46" y="88"/>
                  </a:cubicBezTo>
                  <a:cubicBezTo>
                    <a:pt x="46" y="89"/>
                    <a:pt x="50" y="92"/>
                    <a:pt x="52" y="95"/>
                  </a:cubicBezTo>
                  <a:cubicBezTo>
                    <a:pt x="54" y="98"/>
                    <a:pt x="58" y="102"/>
                    <a:pt x="62" y="102"/>
                  </a:cubicBezTo>
                  <a:cubicBezTo>
                    <a:pt x="65" y="102"/>
                    <a:pt x="71" y="101"/>
                    <a:pt x="72" y="99"/>
                  </a:cubicBezTo>
                  <a:cubicBezTo>
                    <a:pt x="74" y="96"/>
                    <a:pt x="76" y="92"/>
                    <a:pt x="79" y="92"/>
                  </a:cubicBezTo>
                  <a:cubicBezTo>
                    <a:pt x="83" y="92"/>
                    <a:pt x="87" y="92"/>
                    <a:pt x="91" y="92"/>
                  </a:cubicBezTo>
                  <a:cubicBezTo>
                    <a:pt x="94" y="92"/>
                    <a:pt x="104" y="87"/>
                    <a:pt x="104" y="85"/>
                  </a:cubicBezTo>
                  <a:cubicBezTo>
                    <a:pt x="104" y="84"/>
                    <a:pt x="104" y="82"/>
                    <a:pt x="104" y="80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105" y="67"/>
                    <a:pt x="105" y="67"/>
                    <a:pt x="105" y="67"/>
                  </a:cubicBezTo>
                  <a:cubicBezTo>
                    <a:pt x="105" y="62"/>
                    <a:pt x="105" y="62"/>
                    <a:pt x="105" y="62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9" y="56"/>
                    <a:pt x="9" y="56"/>
                    <a:pt x="9" y="56"/>
                  </a:cubicBezTo>
                  <a:lnTo>
                    <a:pt x="1" y="5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1" name="Freeform 88"/>
            <p:cNvSpPr>
              <a:spLocks/>
            </p:cNvSpPr>
            <p:nvPr/>
          </p:nvSpPr>
          <p:spPr bwMode="auto">
            <a:xfrm>
              <a:off x="2792" y="3941"/>
              <a:ext cx="152" cy="254"/>
            </a:xfrm>
            <a:custGeom>
              <a:avLst/>
              <a:gdLst>
                <a:gd name="T0" fmla="*/ 42 w 152"/>
                <a:gd name="T1" fmla="*/ 0 h 254"/>
                <a:gd name="T2" fmla="*/ 58 w 152"/>
                <a:gd name="T3" fmla="*/ 29 h 254"/>
                <a:gd name="T4" fmla="*/ 71 w 152"/>
                <a:gd name="T5" fmla="*/ 29 h 254"/>
                <a:gd name="T6" fmla="*/ 79 w 152"/>
                <a:gd name="T7" fmla="*/ 23 h 254"/>
                <a:gd name="T8" fmla="*/ 106 w 152"/>
                <a:gd name="T9" fmla="*/ 29 h 254"/>
                <a:gd name="T10" fmla="*/ 115 w 152"/>
                <a:gd name="T11" fmla="*/ 25 h 254"/>
                <a:gd name="T12" fmla="*/ 121 w 152"/>
                <a:gd name="T13" fmla="*/ 35 h 254"/>
                <a:gd name="T14" fmla="*/ 115 w 152"/>
                <a:gd name="T15" fmla="*/ 48 h 254"/>
                <a:gd name="T16" fmla="*/ 129 w 152"/>
                <a:gd name="T17" fmla="*/ 62 h 254"/>
                <a:gd name="T18" fmla="*/ 129 w 152"/>
                <a:gd name="T19" fmla="*/ 81 h 254"/>
                <a:gd name="T20" fmla="*/ 148 w 152"/>
                <a:gd name="T21" fmla="*/ 96 h 254"/>
                <a:gd name="T22" fmla="*/ 146 w 152"/>
                <a:gd name="T23" fmla="*/ 114 h 254"/>
                <a:gd name="T24" fmla="*/ 152 w 152"/>
                <a:gd name="T25" fmla="*/ 127 h 254"/>
                <a:gd name="T26" fmla="*/ 133 w 152"/>
                <a:gd name="T27" fmla="*/ 144 h 254"/>
                <a:gd name="T28" fmla="*/ 135 w 152"/>
                <a:gd name="T29" fmla="*/ 154 h 254"/>
                <a:gd name="T30" fmla="*/ 110 w 152"/>
                <a:gd name="T31" fmla="*/ 177 h 254"/>
                <a:gd name="T32" fmla="*/ 100 w 152"/>
                <a:gd name="T33" fmla="*/ 206 h 254"/>
                <a:gd name="T34" fmla="*/ 87 w 152"/>
                <a:gd name="T35" fmla="*/ 208 h 254"/>
                <a:gd name="T36" fmla="*/ 87 w 152"/>
                <a:gd name="T37" fmla="*/ 227 h 254"/>
                <a:gd name="T38" fmla="*/ 71 w 152"/>
                <a:gd name="T39" fmla="*/ 239 h 254"/>
                <a:gd name="T40" fmla="*/ 44 w 152"/>
                <a:gd name="T41" fmla="*/ 237 h 254"/>
                <a:gd name="T42" fmla="*/ 31 w 152"/>
                <a:gd name="T43" fmla="*/ 237 h 254"/>
                <a:gd name="T44" fmla="*/ 25 w 152"/>
                <a:gd name="T45" fmla="*/ 254 h 254"/>
                <a:gd name="T46" fmla="*/ 12 w 152"/>
                <a:gd name="T47" fmla="*/ 252 h 254"/>
                <a:gd name="T48" fmla="*/ 0 w 152"/>
                <a:gd name="T49" fmla="*/ 239 h 254"/>
                <a:gd name="T50" fmla="*/ 6 w 152"/>
                <a:gd name="T51" fmla="*/ 233 h 254"/>
                <a:gd name="T52" fmla="*/ 6 w 152"/>
                <a:gd name="T53" fmla="*/ 219 h 254"/>
                <a:gd name="T54" fmla="*/ 23 w 152"/>
                <a:gd name="T55" fmla="*/ 198 h 254"/>
                <a:gd name="T56" fmla="*/ 33 w 152"/>
                <a:gd name="T57" fmla="*/ 202 h 254"/>
                <a:gd name="T58" fmla="*/ 33 w 152"/>
                <a:gd name="T59" fmla="*/ 185 h 254"/>
                <a:gd name="T60" fmla="*/ 54 w 152"/>
                <a:gd name="T61" fmla="*/ 169 h 254"/>
                <a:gd name="T62" fmla="*/ 44 w 152"/>
                <a:gd name="T63" fmla="*/ 152 h 254"/>
                <a:gd name="T64" fmla="*/ 50 w 152"/>
                <a:gd name="T65" fmla="*/ 137 h 254"/>
                <a:gd name="T66" fmla="*/ 35 w 152"/>
                <a:gd name="T67" fmla="*/ 123 h 254"/>
                <a:gd name="T68" fmla="*/ 50 w 152"/>
                <a:gd name="T69" fmla="*/ 104 h 254"/>
                <a:gd name="T70" fmla="*/ 50 w 152"/>
                <a:gd name="T71" fmla="*/ 81 h 254"/>
                <a:gd name="T72" fmla="*/ 58 w 152"/>
                <a:gd name="T73" fmla="*/ 71 h 254"/>
                <a:gd name="T74" fmla="*/ 42 w 152"/>
                <a:gd name="T75" fmla="*/ 69 h 254"/>
                <a:gd name="T76" fmla="*/ 29 w 152"/>
                <a:gd name="T77" fmla="*/ 73 h 254"/>
                <a:gd name="T78" fmla="*/ 23 w 152"/>
                <a:gd name="T79" fmla="*/ 69 h 254"/>
                <a:gd name="T80" fmla="*/ 37 w 152"/>
                <a:gd name="T81" fmla="*/ 58 h 254"/>
                <a:gd name="T82" fmla="*/ 37 w 152"/>
                <a:gd name="T83" fmla="*/ 33 h 254"/>
                <a:gd name="T84" fmla="*/ 29 w 152"/>
                <a:gd name="T85" fmla="*/ 8 h 254"/>
                <a:gd name="T86" fmla="*/ 42 w 152"/>
                <a:gd name="T8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2" h="254">
                  <a:moveTo>
                    <a:pt x="42" y="0"/>
                  </a:moveTo>
                  <a:lnTo>
                    <a:pt x="58" y="29"/>
                  </a:lnTo>
                  <a:lnTo>
                    <a:pt x="71" y="29"/>
                  </a:lnTo>
                  <a:lnTo>
                    <a:pt x="79" y="23"/>
                  </a:lnTo>
                  <a:lnTo>
                    <a:pt x="106" y="29"/>
                  </a:lnTo>
                  <a:lnTo>
                    <a:pt x="115" y="25"/>
                  </a:lnTo>
                  <a:lnTo>
                    <a:pt x="121" y="35"/>
                  </a:lnTo>
                  <a:lnTo>
                    <a:pt x="115" y="48"/>
                  </a:lnTo>
                  <a:lnTo>
                    <a:pt x="129" y="62"/>
                  </a:lnTo>
                  <a:lnTo>
                    <a:pt x="129" y="81"/>
                  </a:lnTo>
                  <a:lnTo>
                    <a:pt x="148" y="96"/>
                  </a:lnTo>
                  <a:lnTo>
                    <a:pt x="146" y="114"/>
                  </a:lnTo>
                  <a:lnTo>
                    <a:pt x="152" y="127"/>
                  </a:lnTo>
                  <a:lnTo>
                    <a:pt x="133" y="144"/>
                  </a:lnTo>
                  <a:lnTo>
                    <a:pt x="135" y="154"/>
                  </a:lnTo>
                  <a:lnTo>
                    <a:pt x="110" y="177"/>
                  </a:lnTo>
                  <a:lnTo>
                    <a:pt x="100" y="206"/>
                  </a:lnTo>
                  <a:lnTo>
                    <a:pt x="87" y="208"/>
                  </a:lnTo>
                  <a:lnTo>
                    <a:pt x="87" y="227"/>
                  </a:lnTo>
                  <a:lnTo>
                    <a:pt x="71" y="239"/>
                  </a:lnTo>
                  <a:lnTo>
                    <a:pt x="44" y="237"/>
                  </a:lnTo>
                  <a:lnTo>
                    <a:pt x="31" y="237"/>
                  </a:lnTo>
                  <a:lnTo>
                    <a:pt x="25" y="254"/>
                  </a:lnTo>
                  <a:lnTo>
                    <a:pt x="12" y="252"/>
                  </a:lnTo>
                  <a:lnTo>
                    <a:pt x="0" y="239"/>
                  </a:lnTo>
                  <a:lnTo>
                    <a:pt x="6" y="233"/>
                  </a:lnTo>
                  <a:lnTo>
                    <a:pt x="6" y="219"/>
                  </a:lnTo>
                  <a:lnTo>
                    <a:pt x="23" y="198"/>
                  </a:lnTo>
                  <a:lnTo>
                    <a:pt x="33" y="202"/>
                  </a:lnTo>
                  <a:lnTo>
                    <a:pt x="33" y="185"/>
                  </a:lnTo>
                  <a:lnTo>
                    <a:pt x="54" y="169"/>
                  </a:lnTo>
                  <a:lnTo>
                    <a:pt x="44" y="152"/>
                  </a:lnTo>
                  <a:lnTo>
                    <a:pt x="50" y="137"/>
                  </a:lnTo>
                  <a:lnTo>
                    <a:pt x="35" y="123"/>
                  </a:lnTo>
                  <a:lnTo>
                    <a:pt x="50" y="104"/>
                  </a:lnTo>
                  <a:lnTo>
                    <a:pt x="50" y="81"/>
                  </a:lnTo>
                  <a:lnTo>
                    <a:pt x="58" y="71"/>
                  </a:lnTo>
                  <a:lnTo>
                    <a:pt x="42" y="69"/>
                  </a:lnTo>
                  <a:lnTo>
                    <a:pt x="29" y="73"/>
                  </a:lnTo>
                  <a:lnTo>
                    <a:pt x="23" y="69"/>
                  </a:lnTo>
                  <a:lnTo>
                    <a:pt x="37" y="58"/>
                  </a:lnTo>
                  <a:lnTo>
                    <a:pt x="37" y="33"/>
                  </a:lnTo>
                  <a:lnTo>
                    <a:pt x="29" y="8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2" name="Freeform 89"/>
            <p:cNvSpPr>
              <a:spLocks noEditPoints="1"/>
            </p:cNvSpPr>
            <p:nvPr/>
          </p:nvSpPr>
          <p:spPr bwMode="auto">
            <a:xfrm>
              <a:off x="4203" y="1755"/>
              <a:ext cx="598" cy="756"/>
            </a:xfrm>
            <a:custGeom>
              <a:avLst/>
              <a:gdLst>
                <a:gd name="T0" fmla="*/ 7 w 287"/>
                <a:gd name="T1" fmla="*/ 247 h 363"/>
                <a:gd name="T2" fmla="*/ 23 w 287"/>
                <a:gd name="T3" fmla="*/ 214 h 363"/>
                <a:gd name="T4" fmla="*/ 38 w 287"/>
                <a:gd name="T5" fmla="*/ 203 h 363"/>
                <a:gd name="T6" fmla="*/ 42 w 287"/>
                <a:gd name="T7" fmla="*/ 213 h 363"/>
                <a:gd name="T8" fmla="*/ 54 w 287"/>
                <a:gd name="T9" fmla="*/ 191 h 363"/>
                <a:gd name="T10" fmla="*/ 27 w 287"/>
                <a:gd name="T11" fmla="*/ 181 h 363"/>
                <a:gd name="T12" fmla="*/ 47 w 287"/>
                <a:gd name="T13" fmla="*/ 153 h 363"/>
                <a:gd name="T14" fmla="*/ 76 w 287"/>
                <a:gd name="T15" fmla="*/ 114 h 363"/>
                <a:gd name="T16" fmla="*/ 117 w 287"/>
                <a:gd name="T17" fmla="*/ 85 h 363"/>
                <a:gd name="T18" fmla="*/ 155 w 287"/>
                <a:gd name="T19" fmla="*/ 58 h 363"/>
                <a:gd name="T20" fmla="*/ 179 w 287"/>
                <a:gd name="T21" fmla="*/ 61 h 363"/>
                <a:gd name="T22" fmla="*/ 168 w 287"/>
                <a:gd name="T23" fmla="*/ 53 h 363"/>
                <a:gd name="T24" fmla="*/ 172 w 287"/>
                <a:gd name="T25" fmla="*/ 34 h 363"/>
                <a:gd name="T26" fmla="*/ 205 w 287"/>
                <a:gd name="T27" fmla="*/ 2 h 363"/>
                <a:gd name="T28" fmla="*/ 218 w 287"/>
                <a:gd name="T29" fmla="*/ 18 h 363"/>
                <a:gd name="T30" fmla="*/ 224 w 287"/>
                <a:gd name="T31" fmla="*/ 39 h 363"/>
                <a:gd name="T32" fmla="*/ 247 w 287"/>
                <a:gd name="T33" fmla="*/ 45 h 363"/>
                <a:gd name="T34" fmla="*/ 246 w 287"/>
                <a:gd name="T35" fmla="*/ 64 h 363"/>
                <a:gd name="T36" fmla="*/ 226 w 287"/>
                <a:gd name="T37" fmla="*/ 84 h 363"/>
                <a:gd name="T38" fmla="*/ 204 w 287"/>
                <a:gd name="T39" fmla="*/ 107 h 363"/>
                <a:gd name="T40" fmla="*/ 184 w 287"/>
                <a:gd name="T41" fmla="*/ 113 h 363"/>
                <a:gd name="T42" fmla="*/ 187 w 287"/>
                <a:gd name="T43" fmla="*/ 124 h 363"/>
                <a:gd name="T44" fmla="*/ 209 w 287"/>
                <a:gd name="T45" fmla="*/ 135 h 363"/>
                <a:gd name="T46" fmla="*/ 212 w 287"/>
                <a:gd name="T47" fmla="*/ 161 h 363"/>
                <a:gd name="T48" fmla="*/ 202 w 287"/>
                <a:gd name="T49" fmla="*/ 179 h 363"/>
                <a:gd name="T50" fmla="*/ 220 w 287"/>
                <a:gd name="T51" fmla="*/ 168 h 363"/>
                <a:gd name="T52" fmla="*/ 246 w 287"/>
                <a:gd name="T53" fmla="*/ 163 h 363"/>
                <a:gd name="T54" fmla="*/ 272 w 287"/>
                <a:gd name="T55" fmla="*/ 159 h 363"/>
                <a:gd name="T56" fmla="*/ 264 w 287"/>
                <a:gd name="T57" fmla="*/ 191 h 363"/>
                <a:gd name="T58" fmla="*/ 275 w 287"/>
                <a:gd name="T59" fmla="*/ 228 h 363"/>
                <a:gd name="T60" fmla="*/ 264 w 287"/>
                <a:gd name="T61" fmla="*/ 239 h 363"/>
                <a:gd name="T62" fmla="*/ 251 w 287"/>
                <a:gd name="T63" fmla="*/ 254 h 363"/>
                <a:gd name="T64" fmla="*/ 241 w 287"/>
                <a:gd name="T65" fmla="*/ 284 h 363"/>
                <a:gd name="T66" fmla="*/ 224 w 287"/>
                <a:gd name="T67" fmla="*/ 289 h 363"/>
                <a:gd name="T68" fmla="*/ 207 w 287"/>
                <a:gd name="T69" fmla="*/ 289 h 363"/>
                <a:gd name="T70" fmla="*/ 178 w 287"/>
                <a:gd name="T71" fmla="*/ 280 h 363"/>
                <a:gd name="T72" fmla="*/ 161 w 287"/>
                <a:gd name="T73" fmla="*/ 298 h 363"/>
                <a:gd name="T74" fmla="*/ 144 w 287"/>
                <a:gd name="T75" fmla="*/ 312 h 363"/>
                <a:gd name="T76" fmla="*/ 136 w 287"/>
                <a:gd name="T77" fmla="*/ 326 h 363"/>
                <a:gd name="T78" fmla="*/ 124 w 287"/>
                <a:gd name="T79" fmla="*/ 349 h 363"/>
                <a:gd name="T80" fmla="*/ 91 w 287"/>
                <a:gd name="T81" fmla="*/ 357 h 363"/>
                <a:gd name="T82" fmla="*/ 70 w 287"/>
                <a:gd name="T83" fmla="*/ 352 h 363"/>
                <a:gd name="T84" fmla="*/ 59 w 287"/>
                <a:gd name="T85" fmla="*/ 354 h 363"/>
                <a:gd name="T86" fmla="*/ 26 w 287"/>
                <a:gd name="T87" fmla="*/ 346 h 363"/>
                <a:gd name="T88" fmla="*/ 20 w 287"/>
                <a:gd name="T89" fmla="*/ 322 h 363"/>
                <a:gd name="T90" fmla="*/ 26 w 287"/>
                <a:gd name="T91" fmla="*/ 301 h 363"/>
                <a:gd name="T92" fmla="*/ 25 w 287"/>
                <a:gd name="T93" fmla="*/ 278 h 363"/>
                <a:gd name="T94" fmla="*/ 30 w 287"/>
                <a:gd name="T95" fmla="*/ 60 h 363"/>
                <a:gd name="T96" fmla="*/ 30 w 287"/>
                <a:gd name="T97" fmla="*/ 95 h 363"/>
                <a:gd name="T98" fmla="*/ 40 w 287"/>
                <a:gd name="T99" fmla="*/ 64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7" h="363">
                  <a:moveTo>
                    <a:pt x="0" y="264"/>
                  </a:moveTo>
                  <a:cubicBezTo>
                    <a:pt x="0" y="263"/>
                    <a:pt x="1" y="263"/>
                    <a:pt x="1" y="262"/>
                  </a:cubicBezTo>
                  <a:cubicBezTo>
                    <a:pt x="4" y="255"/>
                    <a:pt x="5" y="250"/>
                    <a:pt x="7" y="247"/>
                  </a:cubicBezTo>
                  <a:cubicBezTo>
                    <a:pt x="9" y="245"/>
                    <a:pt x="14" y="244"/>
                    <a:pt x="17" y="240"/>
                  </a:cubicBezTo>
                  <a:cubicBezTo>
                    <a:pt x="21" y="235"/>
                    <a:pt x="26" y="231"/>
                    <a:pt x="26" y="227"/>
                  </a:cubicBezTo>
                  <a:cubicBezTo>
                    <a:pt x="27" y="223"/>
                    <a:pt x="25" y="216"/>
                    <a:pt x="23" y="214"/>
                  </a:cubicBezTo>
                  <a:cubicBezTo>
                    <a:pt x="20" y="212"/>
                    <a:pt x="20" y="207"/>
                    <a:pt x="20" y="206"/>
                  </a:cubicBezTo>
                  <a:cubicBezTo>
                    <a:pt x="21" y="204"/>
                    <a:pt x="28" y="197"/>
                    <a:pt x="30" y="197"/>
                  </a:cubicBezTo>
                  <a:cubicBezTo>
                    <a:pt x="31" y="196"/>
                    <a:pt x="38" y="202"/>
                    <a:pt x="38" y="203"/>
                  </a:cubicBezTo>
                  <a:cubicBezTo>
                    <a:pt x="37" y="205"/>
                    <a:pt x="32" y="208"/>
                    <a:pt x="31" y="211"/>
                  </a:cubicBezTo>
                  <a:cubicBezTo>
                    <a:pt x="29" y="213"/>
                    <a:pt x="34" y="213"/>
                    <a:pt x="36" y="214"/>
                  </a:cubicBezTo>
                  <a:cubicBezTo>
                    <a:pt x="38" y="215"/>
                    <a:pt x="39" y="215"/>
                    <a:pt x="42" y="213"/>
                  </a:cubicBezTo>
                  <a:cubicBezTo>
                    <a:pt x="46" y="210"/>
                    <a:pt x="48" y="206"/>
                    <a:pt x="51" y="207"/>
                  </a:cubicBezTo>
                  <a:cubicBezTo>
                    <a:pt x="54" y="208"/>
                    <a:pt x="59" y="207"/>
                    <a:pt x="61" y="203"/>
                  </a:cubicBezTo>
                  <a:cubicBezTo>
                    <a:pt x="62" y="200"/>
                    <a:pt x="61" y="192"/>
                    <a:pt x="54" y="191"/>
                  </a:cubicBezTo>
                  <a:cubicBezTo>
                    <a:pt x="47" y="189"/>
                    <a:pt x="42" y="191"/>
                    <a:pt x="40" y="192"/>
                  </a:cubicBezTo>
                  <a:cubicBezTo>
                    <a:pt x="39" y="193"/>
                    <a:pt x="37" y="191"/>
                    <a:pt x="35" y="188"/>
                  </a:cubicBezTo>
                  <a:cubicBezTo>
                    <a:pt x="32" y="185"/>
                    <a:pt x="27" y="182"/>
                    <a:pt x="27" y="181"/>
                  </a:cubicBezTo>
                  <a:cubicBezTo>
                    <a:pt x="27" y="180"/>
                    <a:pt x="29" y="177"/>
                    <a:pt x="33" y="174"/>
                  </a:cubicBezTo>
                  <a:cubicBezTo>
                    <a:pt x="37" y="170"/>
                    <a:pt x="42" y="162"/>
                    <a:pt x="44" y="161"/>
                  </a:cubicBezTo>
                  <a:cubicBezTo>
                    <a:pt x="47" y="161"/>
                    <a:pt x="46" y="156"/>
                    <a:pt x="47" y="153"/>
                  </a:cubicBezTo>
                  <a:cubicBezTo>
                    <a:pt x="49" y="151"/>
                    <a:pt x="54" y="143"/>
                    <a:pt x="54" y="139"/>
                  </a:cubicBezTo>
                  <a:cubicBezTo>
                    <a:pt x="53" y="135"/>
                    <a:pt x="53" y="134"/>
                    <a:pt x="60" y="130"/>
                  </a:cubicBezTo>
                  <a:cubicBezTo>
                    <a:pt x="66" y="125"/>
                    <a:pt x="75" y="118"/>
                    <a:pt x="76" y="114"/>
                  </a:cubicBezTo>
                  <a:cubicBezTo>
                    <a:pt x="77" y="111"/>
                    <a:pt x="84" y="105"/>
                    <a:pt x="89" y="101"/>
                  </a:cubicBezTo>
                  <a:cubicBezTo>
                    <a:pt x="95" y="98"/>
                    <a:pt x="98" y="99"/>
                    <a:pt x="102" y="94"/>
                  </a:cubicBezTo>
                  <a:cubicBezTo>
                    <a:pt x="106" y="89"/>
                    <a:pt x="115" y="87"/>
                    <a:pt x="117" y="85"/>
                  </a:cubicBezTo>
                  <a:cubicBezTo>
                    <a:pt x="120" y="83"/>
                    <a:pt x="129" y="76"/>
                    <a:pt x="131" y="73"/>
                  </a:cubicBezTo>
                  <a:cubicBezTo>
                    <a:pt x="133" y="71"/>
                    <a:pt x="143" y="64"/>
                    <a:pt x="146" y="61"/>
                  </a:cubicBezTo>
                  <a:cubicBezTo>
                    <a:pt x="148" y="59"/>
                    <a:pt x="152" y="60"/>
                    <a:pt x="155" y="58"/>
                  </a:cubicBezTo>
                  <a:cubicBezTo>
                    <a:pt x="157" y="56"/>
                    <a:pt x="160" y="56"/>
                    <a:pt x="161" y="57"/>
                  </a:cubicBezTo>
                  <a:cubicBezTo>
                    <a:pt x="162" y="59"/>
                    <a:pt x="167" y="60"/>
                    <a:pt x="170" y="59"/>
                  </a:cubicBezTo>
                  <a:cubicBezTo>
                    <a:pt x="173" y="58"/>
                    <a:pt x="178" y="61"/>
                    <a:pt x="179" y="61"/>
                  </a:cubicBezTo>
                  <a:cubicBezTo>
                    <a:pt x="180" y="60"/>
                    <a:pt x="188" y="55"/>
                    <a:pt x="184" y="54"/>
                  </a:cubicBezTo>
                  <a:cubicBezTo>
                    <a:pt x="181" y="53"/>
                    <a:pt x="180" y="51"/>
                    <a:pt x="176" y="53"/>
                  </a:cubicBezTo>
                  <a:cubicBezTo>
                    <a:pt x="172" y="54"/>
                    <a:pt x="170" y="52"/>
                    <a:pt x="168" y="53"/>
                  </a:cubicBezTo>
                  <a:cubicBezTo>
                    <a:pt x="165" y="53"/>
                    <a:pt x="166" y="49"/>
                    <a:pt x="168" y="46"/>
                  </a:cubicBezTo>
                  <a:cubicBezTo>
                    <a:pt x="170" y="43"/>
                    <a:pt x="172" y="45"/>
                    <a:pt x="173" y="41"/>
                  </a:cubicBezTo>
                  <a:cubicBezTo>
                    <a:pt x="174" y="38"/>
                    <a:pt x="173" y="36"/>
                    <a:pt x="172" y="34"/>
                  </a:cubicBezTo>
                  <a:cubicBezTo>
                    <a:pt x="171" y="33"/>
                    <a:pt x="173" y="28"/>
                    <a:pt x="175" y="25"/>
                  </a:cubicBezTo>
                  <a:cubicBezTo>
                    <a:pt x="177" y="22"/>
                    <a:pt x="181" y="23"/>
                    <a:pt x="184" y="21"/>
                  </a:cubicBezTo>
                  <a:cubicBezTo>
                    <a:pt x="187" y="18"/>
                    <a:pt x="203" y="4"/>
                    <a:pt x="205" y="2"/>
                  </a:cubicBezTo>
                  <a:cubicBezTo>
                    <a:pt x="207" y="0"/>
                    <a:pt x="209" y="4"/>
                    <a:pt x="208" y="7"/>
                  </a:cubicBezTo>
                  <a:cubicBezTo>
                    <a:pt x="208" y="9"/>
                    <a:pt x="210" y="13"/>
                    <a:pt x="212" y="13"/>
                  </a:cubicBezTo>
                  <a:cubicBezTo>
                    <a:pt x="215" y="14"/>
                    <a:pt x="218" y="16"/>
                    <a:pt x="218" y="18"/>
                  </a:cubicBezTo>
                  <a:cubicBezTo>
                    <a:pt x="218" y="20"/>
                    <a:pt x="216" y="24"/>
                    <a:pt x="218" y="26"/>
                  </a:cubicBezTo>
                  <a:cubicBezTo>
                    <a:pt x="219" y="28"/>
                    <a:pt x="220" y="34"/>
                    <a:pt x="219" y="35"/>
                  </a:cubicBezTo>
                  <a:cubicBezTo>
                    <a:pt x="217" y="37"/>
                    <a:pt x="219" y="41"/>
                    <a:pt x="224" y="39"/>
                  </a:cubicBezTo>
                  <a:cubicBezTo>
                    <a:pt x="229" y="37"/>
                    <a:pt x="236" y="42"/>
                    <a:pt x="236" y="45"/>
                  </a:cubicBezTo>
                  <a:cubicBezTo>
                    <a:pt x="236" y="48"/>
                    <a:pt x="238" y="51"/>
                    <a:pt x="241" y="48"/>
                  </a:cubicBezTo>
                  <a:cubicBezTo>
                    <a:pt x="244" y="46"/>
                    <a:pt x="246" y="44"/>
                    <a:pt x="247" y="45"/>
                  </a:cubicBezTo>
                  <a:cubicBezTo>
                    <a:pt x="248" y="47"/>
                    <a:pt x="247" y="50"/>
                    <a:pt x="248" y="52"/>
                  </a:cubicBezTo>
                  <a:cubicBezTo>
                    <a:pt x="248" y="54"/>
                    <a:pt x="252" y="56"/>
                    <a:pt x="251" y="58"/>
                  </a:cubicBezTo>
                  <a:cubicBezTo>
                    <a:pt x="250" y="60"/>
                    <a:pt x="250" y="61"/>
                    <a:pt x="246" y="64"/>
                  </a:cubicBezTo>
                  <a:cubicBezTo>
                    <a:pt x="242" y="67"/>
                    <a:pt x="240" y="67"/>
                    <a:pt x="238" y="70"/>
                  </a:cubicBezTo>
                  <a:cubicBezTo>
                    <a:pt x="235" y="73"/>
                    <a:pt x="232" y="76"/>
                    <a:pt x="230" y="79"/>
                  </a:cubicBezTo>
                  <a:cubicBezTo>
                    <a:pt x="229" y="82"/>
                    <a:pt x="229" y="84"/>
                    <a:pt x="226" y="84"/>
                  </a:cubicBezTo>
                  <a:cubicBezTo>
                    <a:pt x="224" y="85"/>
                    <a:pt x="211" y="81"/>
                    <a:pt x="209" y="85"/>
                  </a:cubicBezTo>
                  <a:cubicBezTo>
                    <a:pt x="206" y="89"/>
                    <a:pt x="201" y="94"/>
                    <a:pt x="203" y="98"/>
                  </a:cubicBezTo>
                  <a:cubicBezTo>
                    <a:pt x="204" y="102"/>
                    <a:pt x="204" y="104"/>
                    <a:pt x="204" y="107"/>
                  </a:cubicBezTo>
                  <a:cubicBezTo>
                    <a:pt x="203" y="111"/>
                    <a:pt x="201" y="114"/>
                    <a:pt x="198" y="113"/>
                  </a:cubicBezTo>
                  <a:cubicBezTo>
                    <a:pt x="196" y="112"/>
                    <a:pt x="193" y="113"/>
                    <a:pt x="192" y="114"/>
                  </a:cubicBezTo>
                  <a:cubicBezTo>
                    <a:pt x="190" y="114"/>
                    <a:pt x="185" y="115"/>
                    <a:pt x="184" y="113"/>
                  </a:cubicBezTo>
                  <a:cubicBezTo>
                    <a:pt x="182" y="112"/>
                    <a:pt x="179" y="111"/>
                    <a:pt x="178" y="113"/>
                  </a:cubicBezTo>
                  <a:cubicBezTo>
                    <a:pt x="177" y="114"/>
                    <a:pt x="180" y="118"/>
                    <a:pt x="180" y="121"/>
                  </a:cubicBezTo>
                  <a:cubicBezTo>
                    <a:pt x="180" y="124"/>
                    <a:pt x="183" y="125"/>
                    <a:pt x="187" y="124"/>
                  </a:cubicBezTo>
                  <a:cubicBezTo>
                    <a:pt x="191" y="123"/>
                    <a:pt x="191" y="120"/>
                    <a:pt x="195" y="122"/>
                  </a:cubicBezTo>
                  <a:cubicBezTo>
                    <a:pt x="198" y="124"/>
                    <a:pt x="200" y="124"/>
                    <a:pt x="204" y="127"/>
                  </a:cubicBezTo>
                  <a:cubicBezTo>
                    <a:pt x="207" y="130"/>
                    <a:pt x="208" y="129"/>
                    <a:pt x="209" y="135"/>
                  </a:cubicBezTo>
                  <a:cubicBezTo>
                    <a:pt x="210" y="141"/>
                    <a:pt x="213" y="139"/>
                    <a:pt x="214" y="145"/>
                  </a:cubicBezTo>
                  <a:cubicBezTo>
                    <a:pt x="216" y="151"/>
                    <a:pt x="216" y="150"/>
                    <a:pt x="216" y="154"/>
                  </a:cubicBezTo>
                  <a:cubicBezTo>
                    <a:pt x="216" y="158"/>
                    <a:pt x="214" y="159"/>
                    <a:pt x="212" y="161"/>
                  </a:cubicBezTo>
                  <a:cubicBezTo>
                    <a:pt x="210" y="163"/>
                    <a:pt x="210" y="165"/>
                    <a:pt x="207" y="167"/>
                  </a:cubicBezTo>
                  <a:cubicBezTo>
                    <a:pt x="203" y="169"/>
                    <a:pt x="199" y="171"/>
                    <a:pt x="199" y="174"/>
                  </a:cubicBezTo>
                  <a:cubicBezTo>
                    <a:pt x="198" y="177"/>
                    <a:pt x="203" y="178"/>
                    <a:pt x="202" y="179"/>
                  </a:cubicBezTo>
                  <a:cubicBezTo>
                    <a:pt x="200" y="181"/>
                    <a:pt x="207" y="179"/>
                    <a:pt x="205" y="176"/>
                  </a:cubicBezTo>
                  <a:cubicBezTo>
                    <a:pt x="203" y="172"/>
                    <a:pt x="207" y="169"/>
                    <a:pt x="208" y="169"/>
                  </a:cubicBezTo>
                  <a:cubicBezTo>
                    <a:pt x="209" y="169"/>
                    <a:pt x="219" y="171"/>
                    <a:pt x="220" y="168"/>
                  </a:cubicBezTo>
                  <a:cubicBezTo>
                    <a:pt x="222" y="164"/>
                    <a:pt x="221" y="159"/>
                    <a:pt x="227" y="161"/>
                  </a:cubicBezTo>
                  <a:cubicBezTo>
                    <a:pt x="233" y="162"/>
                    <a:pt x="230" y="161"/>
                    <a:pt x="234" y="160"/>
                  </a:cubicBezTo>
                  <a:cubicBezTo>
                    <a:pt x="238" y="160"/>
                    <a:pt x="243" y="161"/>
                    <a:pt x="246" y="163"/>
                  </a:cubicBezTo>
                  <a:cubicBezTo>
                    <a:pt x="248" y="165"/>
                    <a:pt x="255" y="161"/>
                    <a:pt x="257" y="159"/>
                  </a:cubicBezTo>
                  <a:cubicBezTo>
                    <a:pt x="258" y="158"/>
                    <a:pt x="263" y="158"/>
                    <a:pt x="264" y="160"/>
                  </a:cubicBezTo>
                  <a:cubicBezTo>
                    <a:pt x="265" y="161"/>
                    <a:pt x="271" y="160"/>
                    <a:pt x="272" y="159"/>
                  </a:cubicBezTo>
                  <a:cubicBezTo>
                    <a:pt x="274" y="158"/>
                    <a:pt x="287" y="168"/>
                    <a:pt x="285" y="171"/>
                  </a:cubicBezTo>
                  <a:cubicBezTo>
                    <a:pt x="283" y="174"/>
                    <a:pt x="275" y="180"/>
                    <a:pt x="272" y="184"/>
                  </a:cubicBezTo>
                  <a:cubicBezTo>
                    <a:pt x="268" y="187"/>
                    <a:pt x="263" y="188"/>
                    <a:pt x="264" y="191"/>
                  </a:cubicBezTo>
                  <a:cubicBezTo>
                    <a:pt x="266" y="195"/>
                    <a:pt x="268" y="200"/>
                    <a:pt x="269" y="203"/>
                  </a:cubicBezTo>
                  <a:cubicBezTo>
                    <a:pt x="271" y="205"/>
                    <a:pt x="274" y="212"/>
                    <a:pt x="273" y="217"/>
                  </a:cubicBezTo>
                  <a:cubicBezTo>
                    <a:pt x="271" y="222"/>
                    <a:pt x="274" y="223"/>
                    <a:pt x="275" y="228"/>
                  </a:cubicBezTo>
                  <a:cubicBezTo>
                    <a:pt x="275" y="230"/>
                    <a:pt x="275" y="231"/>
                    <a:pt x="275" y="232"/>
                  </a:cubicBezTo>
                  <a:cubicBezTo>
                    <a:pt x="271" y="237"/>
                    <a:pt x="271" y="237"/>
                    <a:pt x="271" y="237"/>
                  </a:cubicBezTo>
                  <a:cubicBezTo>
                    <a:pt x="264" y="239"/>
                    <a:pt x="264" y="239"/>
                    <a:pt x="264" y="239"/>
                  </a:cubicBezTo>
                  <a:cubicBezTo>
                    <a:pt x="260" y="235"/>
                    <a:pt x="260" y="235"/>
                    <a:pt x="260" y="235"/>
                  </a:cubicBezTo>
                  <a:cubicBezTo>
                    <a:pt x="254" y="236"/>
                    <a:pt x="254" y="236"/>
                    <a:pt x="254" y="236"/>
                  </a:cubicBezTo>
                  <a:cubicBezTo>
                    <a:pt x="251" y="254"/>
                    <a:pt x="251" y="254"/>
                    <a:pt x="251" y="254"/>
                  </a:cubicBezTo>
                  <a:cubicBezTo>
                    <a:pt x="245" y="262"/>
                    <a:pt x="245" y="262"/>
                    <a:pt x="245" y="262"/>
                  </a:cubicBezTo>
                  <a:cubicBezTo>
                    <a:pt x="249" y="267"/>
                    <a:pt x="249" y="267"/>
                    <a:pt x="249" y="267"/>
                  </a:cubicBezTo>
                  <a:cubicBezTo>
                    <a:pt x="241" y="284"/>
                    <a:pt x="241" y="284"/>
                    <a:pt x="241" y="284"/>
                  </a:cubicBezTo>
                  <a:cubicBezTo>
                    <a:pt x="236" y="286"/>
                    <a:pt x="236" y="286"/>
                    <a:pt x="236" y="286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24" y="289"/>
                    <a:pt x="224" y="289"/>
                    <a:pt x="224" y="289"/>
                  </a:cubicBezTo>
                  <a:cubicBezTo>
                    <a:pt x="220" y="290"/>
                    <a:pt x="220" y="290"/>
                    <a:pt x="220" y="290"/>
                  </a:cubicBezTo>
                  <a:cubicBezTo>
                    <a:pt x="213" y="297"/>
                    <a:pt x="213" y="297"/>
                    <a:pt x="213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2" y="277"/>
                    <a:pt x="202" y="277"/>
                    <a:pt x="202" y="277"/>
                  </a:cubicBezTo>
                  <a:cubicBezTo>
                    <a:pt x="190" y="281"/>
                    <a:pt x="190" y="281"/>
                    <a:pt x="190" y="281"/>
                  </a:cubicBezTo>
                  <a:cubicBezTo>
                    <a:pt x="178" y="280"/>
                    <a:pt x="178" y="280"/>
                    <a:pt x="178" y="280"/>
                  </a:cubicBezTo>
                  <a:cubicBezTo>
                    <a:pt x="175" y="288"/>
                    <a:pt x="175" y="288"/>
                    <a:pt x="175" y="288"/>
                  </a:cubicBezTo>
                  <a:cubicBezTo>
                    <a:pt x="162" y="291"/>
                    <a:pt x="162" y="291"/>
                    <a:pt x="162" y="291"/>
                  </a:cubicBezTo>
                  <a:cubicBezTo>
                    <a:pt x="161" y="298"/>
                    <a:pt x="161" y="298"/>
                    <a:pt x="161" y="298"/>
                  </a:cubicBezTo>
                  <a:cubicBezTo>
                    <a:pt x="158" y="307"/>
                    <a:pt x="158" y="307"/>
                    <a:pt x="158" y="307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4" y="312"/>
                    <a:pt x="144" y="312"/>
                    <a:pt x="144" y="312"/>
                  </a:cubicBezTo>
                  <a:cubicBezTo>
                    <a:pt x="149" y="314"/>
                    <a:pt x="149" y="314"/>
                    <a:pt x="149" y="314"/>
                  </a:cubicBezTo>
                  <a:cubicBezTo>
                    <a:pt x="140" y="321"/>
                    <a:pt x="140" y="321"/>
                    <a:pt x="140" y="321"/>
                  </a:cubicBezTo>
                  <a:cubicBezTo>
                    <a:pt x="136" y="326"/>
                    <a:pt x="136" y="326"/>
                    <a:pt x="136" y="326"/>
                  </a:cubicBezTo>
                  <a:cubicBezTo>
                    <a:pt x="135" y="336"/>
                    <a:pt x="135" y="336"/>
                    <a:pt x="135" y="336"/>
                  </a:cubicBezTo>
                  <a:cubicBezTo>
                    <a:pt x="135" y="335"/>
                    <a:pt x="135" y="335"/>
                    <a:pt x="135" y="335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13" y="347"/>
                    <a:pt x="113" y="347"/>
                    <a:pt x="113" y="347"/>
                  </a:cubicBezTo>
                  <a:cubicBezTo>
                    <a:pt x="109" y="359"/>
                    <a:pt x="109" y="359"/>
                    <a:pt x="109" y="359"/>
                  </a:cubicBezTo>
                  <a:cubicBezTo>
                    <a:pt x="91" y="357"/>
                    <a:pt x="91" y="357"/>
                    <a:pt x="91" y="357"/>
                  </a:cubicBezTo>
                  <a:cubicBezTo>
                    <a:pt x="87" y="362"/>
                    <a:pt x="87" y="362"/>
                    <a:pt x="87" y="362"/>
                  </a:cubicBezTo>
                  <a:cubicBezTo>
                    <a:pt x="80" y="363"/>
                    <a:pt x="80" y="363"/>
                    <a:pt x="80" y="363"/>
                  </a:cubicBezTo>
                  <a:cubicBezTo>
                    <a:pt x="70" y="352"/>
                    <a:pt x="70" y="352"/>
                    <a:pt x="70" y="352"/>
                  </a:cubicBezTo>
                  <a:cubicBezTo>
                    <a:pt x="61" y="356"/>
                    <a:pt x="61" y="356"/>
                    <a:pt x="61" y="356"/>
                  </a:cubicBezTo>
                  <a:cubicBezTo>
                    <a:pt x="65" y="361"/>
                    <a:pt x="65" y="361"/>
                    <a:pt x="65" y="361"/>
                  </a:cubicBezTo>
                  <a:cubicBezTo>
                    <a:pt x="59" y="354"/>
                    <a:pt x="59" y="354"/>
                    <a:pt x="59" y="354"/>
                  </a:cubicBezTo>
                  <a:cubicBezTo>
                    <a:pt x="49" y="345"/>
                    <a:pt x="49" y="345"/>
                    <a:pt x="49" y="345"/>
                  </a:cubicBezTo>
                  <a:cubicBezTo>
                    <a:pt x="39" y="346"/>
                    <a:pt x="39" y="346"/>
                    <a:pt x="39" y="346"/>
                  </a:cubicBezTo>
                  <a:cubicBezTo>
                    <a:pt x="26" y="346"/>
                    <a:pt x="26" y="346"/>
                    <a:pt x="26" y="346"/>
                  </a:cubicBezTo>
                  <a:cubicBezTo>
                    <a:pt x="26" y="338"/>
                    <a:pt x="26" y="338"/>
                    <a:pt x="26" y="338"/>
                  </a:cubicBezTo>
                  <a:cubicBezTo>
                    <a:pt x="19" y="330"/>
                    <a:pt x="19" y="330"/>
                    <a:pt x="19" y="330"/>
                  </a:cubicBezTo>
                  <a:cubicBezTo>
                    <a:pt x="20" y="322"/>
                    <a:pt x="20" y="322"/>
                    <a:pt x="20" y="322"/>
                  </a:cubicBezTo>
                  <a:cubicBezTo>
                    <a:pt x="22" y="317"/>
                    <a:pt x="22" y="317"/>
                    <a:pt x="22" y="317"/>
                  </a:cubicBezTo>
                  <a:cubicBezTo>
                    <a:pt x="26" y="308"/>
                    <a:pt x="26" y="308"/>
                    <a:pt x="26" y="308"/>
                  </a:cubicBezTo>
                  <a:cubicBezTo>
                    <a:pt x="26" y="301"/>
                    <a:pt x="26" y="301"/>
                    <a:pt x="26" y="301"/>
                  </a:cubicBezTo>
                  <a:cubicBezTo>
                    <a:pt x="37" y="291"/>
                    <a:pt x="37" y="291"/>
                    <a:pt x="37" y="291"/>
                  </a:cubicBezTo>
                  <a:cubicBezTo>
                    <a:pt x="30" y="282"/>
                    <a:pt x="30" y="282"/>
                    <a:pt x="30" y="282"/>
                  </a:cubicBezTo>
                  <a:cubicBezTo>
                    <a:pt x="25" y="278"/>
                    <a:pt x="25" y="278"/>
                    <a:pt x="25" y="278"/>
                  </a:cubicBezTo>
                  <a:cubicBezTo>
                    <a:pt x="12" y="271"/>
                    <a:pt x="12" y="271"/>
                    <a:pt x="12" y="271"/>
                  </a:cubicBezTo>
                  <a:cubicBezTo>
                    <a:pt x="0" y="264"/>
                    <a:pt x="0" y="264"/>
                    <a:pt x="0" y="264"/>
                  </a:cubicBezTo>
                  <a:close/>
                  <a:moveTo>
                    <a:pt x="30" y="60"/>
                  </a:moveTo>
                  <a:cubicBezTo>
                    <a:pt x="30" y="60"/>
                    <a:pt x="22" y="65"/>
                    <a:pt x="21" y="70"/>
                  </a:cubicBezTo>
                  <a:cubicBezTo>
                    <a:pt x="20" y="75"/>
                    <a:pt x="19" y="78"/>
                    <a:pt x="21" y="84"/>
                  </a:cubicBezTo>
                  <a:cubicBezTo>
                    <a:pt x="22" y="89"/>
                    <a:pt x="24" y="93"/>
                    <a:pt x="30" y="95"/>
                  </a:cubicBezTo>
                  <a:cubicBezTo>
                    <a:pt x="36" y="98"/>
                    <a:pt x="39" y="93"/>
                    <a:pt x="37" y="88"/>
                  </a:cubicBezTo>
                  <a:cubicBezTo>
                    <a:pt x="35" y="83"/>
                    <a:pt x="37" y="82"/>
                    <a:pt x="38" y="79"/>
                  </a:cubicBezTo>
                  <a:cubicBezTo>
                    <a:pt x="39" y="77"/>
                    <a:pt x="43" y="71"/>
                    <a:pt x="40" y="64"/>
                  </a:cubicBezTo>
                  <a:cubicBezTo>
                    <a:pt x="38" y="57"/>
                    <a:pt x="35" y="58"/>
                    <a:pt x="30" y="6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3" name="Freeform 90"/>
            <p:cNvSpPr>
              <a:spLocks noEditPoints="1"/>
            </p:cNvSpPr>
            <p:nvPr/>
          </p:nvSpPr>
          <p:spPr bwMode="auto">
            <a:xfrm>
              <a:off x="1806" y="2772"/>
              <a:ext cx="519" cy="323"/>
            </a:xfrm>
            <a:custGeom>
              <a:avLst/>
              <a:gdLst>
                <a:gd name="T0" fmla="*/ 0 w 249"/>
                <a:gd name="T1" fmla="*/ 63 h 155"/>
                <a:gd name="T2" fmla="*/ 12 w 249"/>
                <a:gd name="T3" fmla="*/ 38 h 155"/>
                <a:gd name="T4" fmla="*/ 31 w 249"/>
                <a:gd name="T5" fmla="*/ 4 h 155"/>
                <a:gd name="T6" fmla="*/ 53 w 249"/>
                <a:gd name="T7" fmla="*/ 21 h 155"/>
                <a:gd name="T8" fmla="*/ 46 w 249"/>
                <a:gd name="T9" fmla="*/ 46 h 155"/>
                <a:gd name="T10" fmla="*/ 25 w 249"/>
                <a:gd name="T11" fmla="*/ 50 h 155"/>
                <a:gd name="T12" fmla="*/ 30 w 249"/>
                <a:gd name="T13" fmla="*/ 70 h 155"/>
                <a:gd name="T14" fmla="*/ 57 w 249"/>
                <a:gd name="T15" fmla="*/ 59 h 155"/>
                <a:gd name="T16" fmla="*/ 83 w 249"/>
                <a:gd name="T17" fmla="*/ 61 h 155"/>
                <a:gd name="T18" fmla="*/ 116 w 249"/>
                <a:gd name="T19" fmla="*/ 67 h 155"/>
                <a:gd name="T20" fmla="*/ 136 w 249"/>
                <a:gd name="T21" fmla="*/ 61 h 155"/>
                <a:gd name="T22" fmla="*/ 127 w 249"/>
                <a:gd name="T23" fmla="*/ 74 h 155"/>
                <a:gd name="T24" fmla="*/ 133 w 249"/>
                <a:gd name="T25" fmla="*/ 84 h 155"/>
                <a:gd name="T26" fmla="*/ 156 w 249"/>
                <a:gd name="T27" fmla="*/ 83 h 155"/>
                <a:gd name="T28" fmla="*/ 175 w 249"/>
                <a:gd name="T29" fmla="*/ 85 h 155"/>
                <a:gd name="T30" fmla="*/ 182 w 249"/>
                <a:gd name="T31" fmla="*/ 95 h 155"/>
                <a:gd name="T32" fmla="*/ 188 w 249"/>
                <a:gd name="T33" fmla="*/ 97 h 155"/>
                <a:gd name="T34" fmla="*/ 202 w 249"/>
                <a:gd name="T35" fmla="*/ 88 h 155"/>
                <a:gd name="T36" fmla="*/ 198 w 249"/>
                <a:gd name="T37" fmla="*/ 64 h 155"/>
                <a:gd name="T38" fmla="*/ 203 w 249"/>
                <a:gd name="T39" fmla="*/ 45 h 155"/>
                <a:gd name="T40" fmla="*/ 213 w 249"/>
                <a:gd name="T41" fmla="*/ 71 h 155"/>
                <a:gd name="T42" fmla="*/ 238 w 249"/>
                <a:gd name="T43" fmla="*/ 87 h 155"/>
                <a:gd name="T44" fmla="*/ 249 w 249"/>
                <a:gd name="T45" fmla="*/ 105 h 155"/>
                <a:gd name="T46" fmla="*/ 248 w 249"/>
                <a:gd name="T47" fmla="*/ 121 h 155"/>
                <a:gd name="T48" fmla="*/ 246 w 249"/>
                <a:gd name="T49" fmla="*/ 132 h 155"/>
                <a:gd name="T50" fmla="*/ 230 w 249"/>
                <a:gd name="T51" fmla="*/ 134 h 155"/>
                <a:gd name="T52" fmla="*/ 220 w 249"/>
                <a:gd name="T53" fmla="*/ 142 h 155"/>
                <a:gd name="T54" fmla="*/ 201 w 249"/>
                <a:gd name="T55" fmla="*/ 151 h 155"/>
                <a:gd name="T56" fmla="*/ 181 w 249"/>
                <a:gd name="T57" fmla="*/ 152 h 155"/>
                <a:gd name="T58" fmla="*/ 149 w 249"/>
                <a:gd name="T59" fmla="*/ 136 h 155"/>
                <a:gd name="T60" fmla="*/ 130 w 249"/>
                <a:gd name="T61" fmla="*/ 127 h 155"/>
                <a:gd name="T62" fmla="*/ 107 w 249"/>
                <a:gd name="T63" fmla="*/ 113 h 155"/>
                <a:gd name="T64" fmla="*/ 93 w 249"/>
                <a:gd name="T65" fmla="*/ 104 h 155"/>
                <a:gd name="T66" fmla="*/ 77 w 249"/>
                <a:gd name="T67" fmla="*/ 107 h 155"/>
                <a:gd name="T68" fmla="*/ 32 w 249"/>
                <a:gd name="T69" fmla="*/ 100 h 155"/>
                <a:gd name="T70" fmla="*/ 24 w 249"/>
                <a:gd name="T71" fmla="*/ 105 h 155"/>
                <a:gd name="T72" fmla="*/ 15 w 249"/>
                <a:gd name="T73" fmla="*/ 92 h 155"/>
                <a:gd name="T74" fmla="*/ 5 w 249"/>
                <a:gd name="T75" fmla="*/ 77 h 155"/>
                <a:gd name="T76" fmla="*/ 89 w 249"/>
                <a:gd name="T77" fmla="*/ 22 h 155"/>
                <a:gd name="T78" fmla="*/ 97 w 249"/>
                <a:gd name="T79" fmla="*/ 37 h 155"/>
                <a:gd name="T80" fmla="*/ 95 w 249"/>
                <a:gd name="T81" fmla="*/ 1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9" h="155">
                  <a:moveTo>
                    <a:pt x="0" y="63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4" y="59"/>
                    <a:pt x="11" y="55"/>
                    <a:pt x="10" y="50"/>
                  </a:cubicBezTo>
                  <a:cubicBezTo>
                    <a:pt x="10" y="46"/>
                    <a:pt x="8" y="43"/>
                    <a:pt x="12" y="38"/>
                  </a:cubicBezTo>
                  <a:cubicBezTo>
                    <a:pt x="16" y="34"/>
                    <a:pt x="31" y="26"/>
                    <a:pt x="32" y="23"/>
                  </a:cubicBezTo>
                  <a:cubicBezTo>
                    <a:pt x="34" y="19"/>
                    <a:pt x="32" y="5"/>
                    <a:pt x="31" y="4"/>
                  </a:cubicBezTo>
                  <a:cubicBezTo>
                    <a:pt x="30" y="4"/>
                    <a:pt x="34" y="0"/>
                    <a:pt x="39" y="8"/>
                  </a:cubicBezTo>
                  <a:cubicBezTo>
                    <a:pt x="43" y="16"/>
                    <a:pt x="48" y="18"/>
                    <a:pt x="53" y="21"/>
                  </a:cubicBezTo>
                  <a:cubicBezTo>
                    <a:pt x="58" y="23"/>
                    <a:pt x="55" y="32"/>
                    <a:pt x="52" y="38"/>
                  </a:cubicBezTo>
                  <a:cubicBezTo>
                    <a:pt x="50" y="45"/>
                    <a:pt x="50" y="48"/>
                    <a:pt x="46" y="46"/>
                  </a:cubicBezTo>
                  <a:cubicBezTo>
                    <a:pt x="41" y="43"/>
                    <a:pt x="33" y="42"/>
                    <a:pt x="30" y="43"/>
                  </a:cubicBezTo>
                  <a:cubicBezTo>
                    <a:pt x="26" y="45"/>
                    <a:pt x="23" y="46"/>
                    <a:pt x="25" y="50"/>
                  </a:cubicBezTo>
                  <a:cubicBezTo>
                    <a:pt x="26" y="53"/>
                    <a:pt x="27" y="56"/>
                    <a:pt x="25" y="59"/>
                  </a:cubicBezTo>
                  <a:cubicBezTo>
                    <a:pt x="23" y="63"/>
                    <a:pt x="26" y="68"/>
                    <a:pt x="30" y="70"/>
                  </a:cubicBezTo>
                  <a:cubicBezTo>
                    <a:pt x="33" y="72"/>
                    <a:pt x="44" y="73"/>
                    <a:pt x="46" y="70"/>
                  </a:cubicBezTo>
                  <a:cubicBezTo>
                    <a:pt x="48" y="67"/>
                    <a:pt x="53" y="56"/>
                    <a:pt x="57" y="59"/>
                  </a:cubicBezTo>
                  <a:cubicBezTo>
                    <a:pt x="61" y="62"/>
                    <a:pt x="65" y="65"/>
                    <a:pt x="68" y="62"/>
                  </a:cubicBezTo>
                  <a:cubicBezTo>
                    <a:pt x="71" y="59"/>
                    <a:pt x="78" y="64"/>
                    <a:pt x="83" y="61"/>
                  </a:cubicBezTo>
                  <a:cubicBezTo>
                    <a:pt x="89" y="58"/>
                    <a:pt x="97" y="56"/>
                    <a:pt x="104" y="61"/>
                  </a:cubicBezTo>
                  <a:cubicBezTo>
                    <a:pt x="110" y="65"/>
                    <a:pt x="113" y="72"/>
                    <a:pt x="116" y="67"/>
                  </a:cubicBezTo>
                  <a:cubicBezTo>
                    <a:pt x="118" y="61"/>
                    <a:pt x="120" y="60"/>
                    <a:pt x="123" y="59"/>
                  </a:cubicBezTo>
                  <a:cubicBezTo>
                    <a:pt x="125" y="58"/>
                    <a:pt x="135" y="59"/>
                    <a:pt x="136" y="61"/>
                  </a:cubicBezTo>
                  <a:cubicBezTo>
                    <a:pt x="137" y="63"/>
                    <a:pt x="134" y="65"/>
                    <a:pt x="132" y="67"/>
                  </a:cubicBezTo>
                  <a:cubicBezTo>
                    <a:pt x="130" y="70"/>
                    <a:pt x="128" y="72"/>
                    <a:pt x="127" y="74"/>
                  </a:cubicBezTo>
                  <a:cubicBezTo>
                    <a:pt x="127" y="76"/>
                    <a:pt x="122" y="74"/>
                    <a:pt x="123" y="76"/>
                  </a:cubicBezTo>
                  <a:cubicBezTo>
                    <a:pt x="124" y="78"/>
                    <a:pt x="129" y="87"/>
                    <a:pt x="133" y="84"/>
                  </a:cubicBezTo>
                  <a:cubicBezTo>
                    <a:pt x="138" y="81"/>
                    <a:pt x="138" y="79"/>
                    <a:pt x="144" y="79"/>
                  </a:cubicBezTo>
                  <a:cubicBezTo>
                    <a:pt x="151" y="79"/>
                    <a:pt x="154" y="80"/>
                    <a:pt x="156" y="83"/>
                  </a:cubicBezTo>
                  <a:cubicBezTo>
                    <a:pt x="157" y="86"/>
                    <a:pt x="159" y="90"/>
                    <a:pt x="163" y="88"/>
                  </a:cubicBezTo>
                  <a:cubicBezTo>
                    <a:pt x="167" y="86"/>
                    <a:pt x="172" y="86"/>
                    <a:pt x="175" y="85"/>
                  </a:cubicBezTo>
                  <a:cubicBezTo>
                    <a:pt x="177" y="84"/>
                    <a:pt x="178" y="81"/>
                    <a:pt x="183" y="84"/>
                  </a:cubicBezTo>
                  <a:cubicBezTo>
                    <a:pt x="188" y="88"/>
                    <a:pt x="185" y="91"/>
                    <a:pt x="182" y="95"/>
                  </a:cubicBezTo>
                  <a:cubicBezTo>
                    <a:pt x="178" y="98"/>
                    <a:pt x="180" y="102"/>
                    <a:pt x="182" y="104"/>
                  </a:cubicBezTo>
                  <a:cubicBezTo>
                    <a:pt x="184" y="105"/>
                    <a:pt x="188" y="100"/>
                    <a:pt x="188" y="97"/>
                  </a:cubicBezTo>
                  <a:cubicBezTo>
                    <a:pt x="187" y="94"/>
                    <a:pt x="195" y="96"/>
                    <a:pt x="197" y="98"/>
                  </a:cubicBezTo>
                  <a:cubicBezTo>
                    <a:pt x="200" y="100"/>
                    <a:pt x="204" y="92"/>
                    <a:pt x="202" y="88"/>
                  </a:cubicBezTo>
                  <a:cubicBezTo>
                    <a:pt x="200" y="83"/>
                    <a:pt x="202" y="78"/>
                    <a:pt x="203" y="75"/>
                  </a:cubicBezTo>
                  <a:cubicBezTo>
                    <a:pt x="204" y="71"/>
                    <a:pt x="202" y="68"/>
                    <a:pt x="198" y="64"/>
                  </a:cubicBezTo>
                  <a:cubicBezTo>
                    <a:pt x="195" y="61"/>
                    <a:pt x="191" y="58"/>
                    <a:pt x="193" y="52"/>
                  </a:cubicBezTo>
                  <a:cubicBezTo>
                    <a:pt x="195" y="47"/>
                    <a:pt x="200" y="40"/>
                    <a:pt x="203" y="45"/>
                  </a:cubicBezTo>
                  <a:cubicBezTo>
                    <a:pt x="206" y="50"/>
                    <a:pt x="210" y="61"/>
                    <a:pt x="210" y="64"/>
                  </a:cubicBezTo>
                  <a:cubicBezTo>
                    <a:pt x="209" y="68"/>
                    <a:pt x="210" y="72"/>
                    <a:pt x="213" y="71"/>
                  </a:cubicBezTo>
                  <a:cubicBezTo>
                    <a:pt x="216" y="71"/>
                    <a:pt x="220" y="74"/>
                    <a:pt x="223" y="77"/>
                  </a:cubicBezTo>
                  <a:cubicBezTo>
                    <a:pt x="225" y="80"/>
                    <a:pt x="232" y="79"/>
                    <a:pt x="238" y="87"/>
                  </a:cubicBezTo>
                  <a:cubicBezTo>
                    <a:pt x="244" y="94"/>
                    <a:pt x="243" y="96"/>
                    <a:pt x="247" y="102"/>
                  </a:cubicBezTo>
                  <a:cubicBezTo>
                    <a:pt x="247" y="103"/>
                    <a:pt x="248" y="104"/>
                    <a:pt x="249" y="105"/>
                  </a:cubicBezTo>
                  <a:cubicBezTo>
                    <a:pt x="241" y="116"/>
                    <a:pt x="241" y="116"/>
                    <a:pt x="241" y="116"/>
                  </a:cubicBezTo>
                  <a:cubicBezTo>
                    <a:pt x="248" y="121"/>
                    <a:pt x="248" y="121"/>
                    <a:pt x="248" y="121"/>
                  </a:cubicBezTo>
                  <a:cubicBezTo>
                    <a:pt x="247" y="131"/>
                    <a:pt x="247" y="131"/>
                    <a:pt x="247" y="131"/>
                  </a:cubicBezTo>
                  <a:cubicBezTo>
                    <a:pt x="246" y="132"/>
                    <a:pt x="246" y="132"/>
                    <a:pt x="246" y="132"/>
                  </a:cubicBezTo>
                  <a:cubicBezTo>
                    <a:pt x="238" y="128"/>
                    <a:pt x="238" y="128"/>
                    <a:pt x="238" y="128"/>
                  </a:cubicBezTo>
                  <a:cubicBezTo>
                    <a:pt x="230" y="134"/>
                    <a:pt x="230" y="134"/>
                    <a:pt x="230" y="134"/>
                  </a:cubicBezTo>
                  <a:cubicBezTo>
                    <a:pt x="223" y="135"/>
                    <a:pt x="223" y="135"/>
                    <a:pt x="223" y="135"/>
                  </a:cubicBezTo>
                  <a:cubicBezTo>
                    <a:pt x="220" y="142"/>
                    <a:pt x="220" y="142"/>
                    <a:pt x="220" y="142"/>
                  </a:cubicBezTo>
                  <a:cubicBezTo>
                    <a:pt x="210" y="140"/>
                    <a:pt x="210" y="140"/>
                    <a:pt x="210" y="140"/>
                  </a:cubicBezTo>
                  <a:cubicBezTo>
                    <a:pt x="201" y="151"/>
                    <a:pt x="201" y="151"/>
                    <a:pt x="201" y="151"/>
                  </a:cubicBezTo>
                  <a:cubicBezTo>
                    <a:pt x="185" y="155"/>
                    <a:pt x="185" y="155"/>
                    <a:pt x="185" y="155"/>
                  </a:cubicBezTo>
                  <a:cubicBezTo>
                    <a:pt x="181" y="152"/>
                    <a:pt x="181" y="152"/>
                    <a:pt x="181" y="152"/>
                  </a:cubicBezTo>
                  <a:cubicBezTo>
                    <a:pt x="172" y="152"/>
                    <a:pt x="172" y="152"/>
                    <a:pt x="172" y="152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0" y="127"/>
                    <a:pt x="130" y="127"/>
                    <a:pt x="130" y="127"/>
                  </a:cubicBezTo>
                  <a:cubicBezTo>
                    <a:pt x="122" y="124"/>
                    <a:pt x="122" y="124"/>
                    <a:pt x="122" y="124"/>
                  </a:cubicBezTo>
                  <a:cubicBezTo>
                    <a:pt x="107" y="113"/>
                    <a:pt x="107" y="113"/>
                    <a:pt x="107" y="113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41" y="106"/>
                    <a:pt x="41" y="106"/>
                    <a:pt x="41" y="106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0" y="105"/>
                    <a:pt x="30" y="105"/>
                    <a:pt x="30" y="105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0" y="63"/>
                    <a:pt x="0" y="63"/>
                    <a:pt x="0" y="63"/>
                  </a:cubicBezTo>
                  <a:close/>
                  <a:moveTo>
                    <a:pt x="89" y="22"/>
                  </a:moveTo>
                  <a:cubicBezTo>
                    <a:pt x="82" y="27"/>
                    <a:pt x="82" y="27"/>
                    <a:pt x="82" y="33"/>
                  </a:cubicBezTo>
                  <a:cubicBezTo>
                    <a:pt x="82" y="39"/>
                    <a:pt x="89" y="38"/>
                    <a:pt x="97" y="37"/>
                  </a:cubicBezTo>
                  <a:cubicBezTo>
                    <a:pt x="104" y="36"/>
                    <a:pt x="106" y="31"/>
                    <a:pt x="105" y="28"/>
                  </a:cubicBezTo>
                  <a:cubicBezTo>
                    <a:pt x="104" y="24"/>
                    <a:pt x="100" y="19"/>
                    <a:pt x="95" y="19"/>
                  </a:cubicBezTo>
                  <a:cubicBezTo>
                    <a:pt x="91" y="19"/>
                    <a:pt x="89" y="22"/>
                    <a:pt x="89" y="22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4" name="Freeform 91"/>
            <p:cNvSpPr>
              <a:spLocks noEditPoints="1"/>
            </p:cNvSpPr>
            <p:nvPr/>
          </p:nvSpPr>
          <p:spPr bwMode="auto">
            <a:xfrm>
              <a:off x="2158" y="2757"/>
              <a:ext cx="611" cy="763"/>
            </a:xfrm>
            <a:custGeom>
              <a:avLst/>
              <a:gdLst>
                <a:gd name="T0" fmla="*/ 104 w 293"/>
                <a:gd name="T1" fmla="*/ 148 h 366"/>
                <a:gd name="T2" fmla="*/ 101 w 293"/>
                <a:gd name="T3" fmla="*/ 100 h 366"/>
                <a:gd name="T4" fmla="*/ 119 w 293"/>
                <a:gd name="T5" fmla="*/ 58 h 366"/>
                <a:gd name="T6" fmla="*/ 172 w 293"/>
                <a:gd name="T7" fmla="*/ 22 h 366"/>
                <a:gd name="T8" fmla="*/ 171 w 293"/>
                <a:gd name="T9" fmla="*/ 80 h 366"/>
                <a:gd name="T10" fmla="*/ 158 w 293"/>
                <a:gd name="T11" fmla="*/ 150 h 366"/>
                <a:gd name="T12" fmla="*/ 135 w 293"/>
                <a:gd name="T13" fmla="*/ 192 h 366"/>
                <a:gd name="T14" fmla="*/ 102 w 293"/>
                <a:gd name="T15" fmla="*/ 208 h 366"/>
                <a:gd name="T16" fmla="*/ 137 w 293"/>
                <a:gd name="T17" fmla="*/ 212 h 366"/>
                <a:gd name="T18" fmla="*/ 172 w 293"/>
                <a:gd name="T19" fmla="*/ 159 h 366"/>
                <a:gd name="T20" fmla="*/ 201 w 293"/>
                <a:gd name="T21" fmla="*/ 173 h 366"/>
                <a:gd name="T22" fmla="*/ 199 w 293"/>
                <a:gd name="T23" fmla="*/ 188 h 366"/>
                <a:gd name="T24" fmla="*/ 195 w 293"/>
                <a:gd name="T25" fmla="*/ 146 h 366"/>
                <a:gd name="T26" fmla="*/ 167 w 293"/>
                <a:gd name="T27" fmla="*/ 123 h 366"/>
                <a:gd name="T28" fmla="*/ 181 w 293"/>
                <a:gd name="T29" fmla="*/ 65 h 366"/>
                <a:gd name="T30" fmla="*/ 208 w 293"/>
                <a:gd name="T31" fmla="*/ 41 h 366"/>
                <a:gd name="T32" fmla="*/ 216 w 293"/>
                <a:gd name="T33" fmla="*/ 87 h 366"/>
                <a:gd name="T34" fmla="*/ 209 w 293"/>
                <a:gd name="T35" fmla="*/ 62 h 366"/>
                <a:gd name="T36" fmla="*/ 233 w 293"/>
                <a:gd name="T37" fmla="*/ 54 h 366"/>
                <a:gd name="T38" fmla="*/ 246 w 293"/>
                <a:gd name="T39" fmla="*/ 81 h 366"/>
                <a:gd name="T40" fmla="*/ 248 w 293"/>
                <a:gd name="T41" fmla="*/ 98 h 366"/>
                <a:gd name="T42" fmla="*/ 227 w 293"/>
                <a:gd name="T43" fmla="*/ 138 h 366"/>
                <a:gd name="T44" fmla="*/ 245 w 293"/>
                <a:gd name="T45" fmla="*/ 156 h 366"/>
                <a:gd name="T46" fmla="*/ 258 w 293"/>
                <a:gd name="T47" fmla="*/ 156 h 366"/>
                <a:gd name="T48" fmla="*/ 260 w 293"/>
                <a:gd name="T49" fmla="*/ 176 h 366"/>
                <a:gd name="T50" fmla="*/ 251 w 293"/>
                <a:gd name="T51" fmla="*/ 203 h 366"/>
                <a:gd name="T52" fmla="*/ 255 w 293"/>
                <a:gd name="T53" fmla="*/ 224 h 366"/>
                <a:gd name="T54" fmla="*/ 263 w 293"/>
                <a:gd name="T55" fmla="*/ 243 h 366"/>
                <a:gd name="T56" fmla="*/ 268 w 293"/>
                <a:gd name="T57" fmla="*/ 260 h 366"/>
                <a:gd name="T58" fmla="*/ 274 w 293"/>
                <a:gd name="T59" fmla="*/ 289 h 366"/>
                <a:gd name="T60" fmla="*/ 290 w 293"/>
                <a:gd name="T61" fmla="*/ 305 h 366"/>
                <a:gd name="T62" fmla="*/ 284 w 293"/>
                <a:gd name="T63" fmla="*/ 335 h 366"/>
                <a:gd name="T64" fmla="*/ 268 w 293"/>
                <a:gd name="T65" fmla="*/ 366 h 366"/>
                <a:gd name="T66" fmla="*/ 245 w 293"/>
                <a:gd name="T67" fmla="*/ 352 h 366"/>
                <a:gd name="T68" fmla="*/ 224 w 293"/>
                <a:gd name="T69" fmla="*/ 336 h 366"/>
                <a:gd name="T70" fmla="*/ 171 w 293"/>
                <a:gd name="T71" fmla="*/ 340 h 366"/>
                <a:gd name="T72" fmla="*/ 150 w 293"/>
                <a:gd name="T73" fmla="*/ 326 h 366"/>
                <a:gd name="T74" fmla="*/ 127 w 293"/>
                <a:gd name="T75" fmla="*/ 319 h 366"/>
                <a:gd name="T76" fmla="*/ 104 w 293"/>
                <a:gd name="T77" fmla="*/ 298 h 366"/>
                <a:gd name="T78" fmla="*/ 79 w 293"/>
                <a:gd name="T79" fmla="*/ 267 h 366"/>
                <a:gd name="T80" fmla="*/ 56 w 293"/>
                <a:gd name="T81" fmla="*/ 272 h 366"/>
                <a:gd name="T82" fmla="*/ 31 w 293"/>
                <a:gd name="T83" fmla="*/ 251 h 366"/>
                <a:gd name="T84" fmla="*/ 9 w 293"/>
                <a:gd name="T85" fmla="*/ 216 h 366"/>
                <a:gd name="T86" fmla="*/ 35 w 293"/>
                <a:gd name="T87" fmla="*/ 183 h 366"/>
                <a:gd name="T88" fmla="*/ 67 w 293"/>
                <a:gd name="T89" fmla="*/ 169 h 366"/>
                <a:gd name="T90" fmla="*/ 70 w 293"/>
                <a:gd name="T91" fmla="*/ 150 h 366"/>
                <a:gd name="T92" fmla="*/ 72 w 293"/>
                <a:gd name="T93" fmla="*/ 123 h 366"/>
                <a:gd name="T94" fmla="*/ 178 w 293"/>
                <a:gd name="T95" fmla="*/ 12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3" h="366">
                  <a:moveTo>
                    <a:pt x="80" y="112"/>
                  </a:moveTo>
                  <a:cubicBezTo>
                    <a:pt x="83" y="116"/>
                    <a:pt x="87" y="117"/>
                    <a:pt x="90" y="122"/>
                  </a:cubicBezTo>
                  <a:cubicBezTo>
                    <a:pt x="94" y="128"/>
                    <a:pt x="97" y="131"/>
                    <a:pt x="98" y="138"/>
                  </a:cubicBezTo>
                  <a:cubicBezTo>
                    <a:pt x="100" y="145"/>
                    <a:pt x="102" y="152"/>
                    <a:pt x="104" y="148"/>
                  </a:cubicBezTo>
                  <a:cubicBezTo>
                    <a:pt x="107" y="144"/>
                    <a:pt x="113" y="141"/>
                    <a:pt x="112" y="135"/>
                  </a:cubicBezTo>
                  <a:cubicBezTo>
                    <a:pt x="111" y="130"/>
                    <a:pt x="111" y="119"/>
                    <a:pt x="111" y="115"/>
                  </a:cubicBezTo>
                  <a:cubicBezTo>
                    <a:pt x="112" y="111"/>
                    <a:pt x="108" y="105"/>
                    <a:pt x="104" y="106"/>
                  </a:cubicBezTo>
                  <a:cubicBezTo>
                    <a:pt x="101" y="107"/>
                    <a:pt x="97" y="104"/>
                    <a:pt x="101" y="100"/>
                  </a:cubicBezTo>
                  <a:cubicBezTo>
                    <a:pt x="105" y="96"/>
                    <a:pt x="110" y="96"/>
                    <a:pt x="110" y="92"/>
                  </a:cubicBezTo>
                  <a:cubicBezTo>
                    <a:pt x="111" y="87"/>
                    <a:pt x="112" y="82"/>
                    <a:pt x="114" y="79"/>
                  </a:cubicBezTo>
                  <a:cubicBezTo>
                    <a:pt x="116" y="77"/>
                    <a:pt x="109" y="77"/>
                    <a:pt x="110" y="70"/>
                  </a:cubicBezTo>
                  <a:cubicBezTo>
                    <a:pt x="111" y="63"/>
                    <a:pt x="113" y="59"/>
                    <a:pt x="119" y="58"/>
                  </a:cubicBezTo>
                  <a:cubicBezTo>
                    <a:pt x="126" y="57"/>
                    <a:pt x="130" y="55"/>
                    <a:pt x="133" y="51"/>
                  </a:cubicBezTo>
                  <a:cubicBezTo>
                    <a:pt x="135" y="47"/>
                    <a:pt x="149" y="31"/>
                    <a:pt x="151" y="24"/>
                  </a:cubicBezTo>
                  <a:cubicBezTo>
                    <a:pt x="153" y="18"/>
                    <a:pt x="155" y="13"/>
                    <a:pt x="158" y="17"/>
                  </a:cubicBezTo>
                  <a:cubicBezTo>
                    <a:pt x="162" y="21"/>
                    <a:pt x="167" y="22"/>
                    <a:pt x="172" y="22"/>
                  </a:cubicBezTo>
                  <a:cubicBezTo>
                    <a:pt x="177" y="22"/>
                    <a:pt x="183" y="29"/>
                    <a:pt x="184" y="33"/>
                  </a:cubicBezTo>
                  <a:cubicBezTo>
                    <a:pt x="184" y="38"/>
                    <a:pt x="182" y="45"/>
                    <a:pt x="179" y="50"/>
                  </a:cubicBezTo>
                  <a:cubicBezTo>
                    <a:pt x="176" y="55"/>
                    <a:pt x="165" y="64"/>
                    <a:pt x="166" y="68"/>
                  </a:cubicBezTo>
                  <a:cubicBezTo>
                    <a:pt x="166" y="73"/>
                    <a:pt x="171" y="75"/>
                    <a:pt x="171" y="80"/>
                  </a:cubicBezTo>
                  <a:cubicBezTo>
                    <a:pt x="171" y="85"/>
                    <a:pt x="167" y="99"/>
                    <a:pt x="164" y="103"/>
                  </a:cubicBezTo>
                  <a:cubicBezTo>
                    <a:pt x="160" y="107"/>
                    <a:pt x="161" y="114"/>
                    <a:pt x="160" y="120"/>
                  </a:cubicBezTo>
                  <a:cubicBezTo>
                    <a:pt x="159" y="125"/>
                    <a:pt x="153" y="134"/>
                    <a:pt x="153" y="135"/>
                  </a:cubicBezTo>
                  <a:cubicBezTo>
                    <a:pt x="153" y="137"/>
                    <a:pt x="156" y="147"/>
                    <a:pt x="158" y="150"/>
                  </a:cubicBezTo>
                  <a:cubicBezTo>
                    <a:pt x="159" y="152"/>
                    <a:pt x="161" y="161"/>
                    <a:pt x="158" y="162"/>
                  </a:cubicBezTo>
                  <a:cubicBezTo>
                    <a:pt x="154" y="164"/>
                    <a:pt x="154" y="168"/>
                    <a:pt x="153" y="174"/>
                  </a:cubicBezTo>
                  <a:cubicBezTo>
                    <a:pt x="153" y="181"/>
                    <a:pt x="146" y="182"/>
                    <a:pt x="144" y="184"/>
                  </a:cubicBezTo>
                  <a:cubicBezTo>
                    <a:pt x="141" y="186"/>
                    <a:pt x="139" y="187"/>
                    <a:pt x="135" y="192"/>
                  </a:cubicBezTo>
                  <a:cubicBezTo>
                    <a:pt x="130" y="197"/>
                    <a:pt x="121" y="201"/>
                    <a:pt x="117" y="201"/>
                  </a:cubicBezTo>
                  <a:cubicBezTo>
                    <a:pt x="112" y="201"/>
                    <a:pt x="111" y="202"/>
                    <a:pt x="106" y="198"/>
                  </a:cubicBezTo>
                  <a:cubicBezTo>
                    <a:pt x="101" y="195"/>
                    <a:pt x="99" y="193"/>
                    <a:pt x="96" y="199"/>
                  </a:cubicBezTo>
                  <a:cubicBezTo>
                    <a:pt x="94" y="205"/>
                    <a:pt x="99" y="205"/>
                    <a:pt x="102" y="208"/>
                  </a:cubicBezTo>
                  <a:cubicBezTo>
                    <a:pt x="104" y="212"/>
                    <a:pt x="109" y="212"/>
                    <a:pt x="110" y="214"/>
                  </a:cubicBezTo>
                  <a:cubicBezTo>
                    <a:pt x="111" y="217"/>
                    <a:pt x="117" y="213"/>
                    <a:pt x="119" y="216"/>
                  </a:cubicBezTo>
                  <a:cubicBezTo>
                    <a:pt x="121" y="220"/>
                    <a:pt x="125" y="223"/>
                    <a:pt x="129" y="219"/>
                  </a:cubicBezTo>
                  <a:cubicBezTo>
                    <a:pt x="133" y="216"/>
                    <a:pt x="133" y="212"/>
                    <a:pt x="137" y="212"/>
                  </a:cubicBezTo>
                  <a:cubicBezTo>
                    <a:pt x="141" y="212"/>
                    <a:pt x="155" y="206"/>
                    <a:pt x="156" y="201"/>
                  </a:cubicBezTo>
                  <a:cubicBezTo>
                    <a:pt x="156" y="196"/>
                    <a:pt x="160" y="193"/>
                    <a:pt x="164" y="190"/>
                  </a:cubicBezTo>
                  <a:cubicBezTo>
                    <a:pt x="168" y="187"/>
                    <a:pt x="168" y="183"/>
                    <a:pt x="170" y="178"/>
                  </a:cubicBezTo>
                  <a:cubicBezTo>
                    <a:pt x="172" y="173"/>
                    <a:pt x="172" y="163"/>
                    <a:pt x="172" y="159"/>
                  </a:cubicBezTo>
                  <a:cubicBezTo>
                    <a:pt x="173" y="155"/>
                    <a:pt x="180" y="153"/>
                    <a:pt x="183" y="153"/>
                  </a:cubicBezTo>
                  <a:cubicBezTo>
                    <a:pt x="185" y="153"/>
                    <a:pt x="194" y="150"/>
                    <a:pt x="195" y="154"/>
                  </a:cubicBezTo>
                  <a:cubicBezTo>
                    <a:pt x="197" y="158"/>
                    <a:pt x="198" y="161"/>
                    <a:pt x="199" y="164"/>
                  </a:cubicBezTo>
                  <a:cubicBezTo>
                    <a:pt x="201" y="166"/>
                    <a:pt x="203" y="169"/>
                    <a:pt x="201" y="173"/>
                  </a:cubicBezTo>
                  <a:cubicBezTo>
                    <a:pt x="200" y="176"/>
                    <a:pt x="196" y="182"/>
                    <a:pt x="196" y="187"/>
                  </a:cubicBezTo>
                  <a:cubicBezTo>
                    <a:pt x="196" y="193"/>
                    <a:pt x="196" y="197"/>
                    <a:pt x="204" y="198"/>
                  </a:cubicBezTo>
                  <a:cubicBezTo>
                    <a:pt x="212" y="200"/>
                    <a:pt x="216" y="198"/>
                    <a:pt x="214" y="195"/>
                  </a:cubicBezTo>
                  <a:cubicBezTo>
                    <a:pt x="211" y="193"/>
                    <a:pt x="198" y="194"/>
                    <a:pt x="199" y="188"/>
                  </a:cubicBezTo>
                  <a:cubicBezTo>
                    <a:pt x="201" y="181"/>
                    <a:pt x="202" y="180"/>
                    <a:pt x="206" y="179"/>
                  </a:cubicBezTo>
                  <a:cubicBezTo>
                    <a:pt x="211" y="178"/>
                    <a:pt x="210" y="174"/>
                    <a:pt x="209" y="170"/>
                  </a:cubicBezTo>
                  <a:cubicBezTo>
                    <a:pt x="209" y="166"/>
                    <a:pt x="208" y="159"/>
                    <a:pt x="209" y="157"/>
                  </a:cubicBezTo>
                  <a:cubicBezTo>
                    <a:pt x="210" y="154"/>
                    <a:pt x="199" y="150"/>
                    <a:pt x="195" y="146"/>
                  </a:cubicBezTo>
                  <a:cubicBezTo>
                    <a:pt x="191" y="141"/>
                    <a:pt x="185" y="142"/>
                    <a:pt x="183" y="144"/>
                  </a:cubicBezTo>
                  <a:cubicBezTo>
                    <a:pt x="180" y="147"/>
                    <a:pt x="180" y="141"/>
                    <a:pt x="172" y="142"/>
                  </a:cubicBezTo>
                  <a:cubicBezTo>
                    <a:pt x="165" y="143"/>
                    <a:pt x="169" y="139"/>
                    <a:pt x="171" y="135"/>
                  </a:cubicBezTo>
                  <a:cubicBezTo>
                    <a:pt x="173" y="131"/>
                    <a:pt x="166" y="126"/>
                    <a:pt x="167" y="123"/>
                  </a:cubicBezTo>
                  <a:cubicBezTo>
                    <a:pt x="168" y="120"/>
                    <a:pt x="174" y="111"/>
                    <a:pt x="177" y="107"/>
                  </a:cubicBezTo>
                  <a:cubicBezTo>
                    <a:pt x="180" y="103"/>
                    <a:pt x="182" y="95"/>
                    <a:pt x="181" y="90"/>
                  </a:cubicBezTo>
                  <a:cubicBezTo>
                    <a:pt x="180" y="84"/>
                    <a:pt x="180" y="76"/>
                    <a:pt x="178" y="73"/>
                  </a:cubicBezTo>
                  <a:cubicBezTo>
                    <a:pt x="176" y="71"/>
                    <a:pt x="179" y="68"/>
                    <a:pt x="181" y="65"/>
                  </a:cubicBezTo>
                  <a:cubicBezTo>
                    <a:pt x="184" y="63"/>
                    <a:pt x="191" y="58"/>
                    <a:pt x="195" y="56"/>
                  </a:cubicBezTo>
                  <a:cubicBezTo>
                    <a:pt x="199" y="53"/>
                    <a:pt x="202" y="52"/>
                    <a:pt x="202" y="48"/>
                  </a:cubicBezTo>
                  <a:cubicBezTo>
                    <a:pt x="202" y="44"/>
                    <a:pt x="200" y="35"/>
                    <a:pt x="203" y="33"/>
                  </a:cubicBezTo>
                  <a:cubicBezTo>
                    <a:pt x="206" y="31"/>
                    <a:pt x="208" y="34"/>
                    <a:pt x="208" y="41"/>
                  </a:cubicBezTo>
                  <a:cubicBezTo>
                    <a:pt x="207" y="48"/>
                    <a:pt x="207" y="54"/>
                    <a:pt x="204" y="58"/>
                  </a:cubicBezTo>
                  <a:cubicBezTo>
                    <a:pt x="200" y="62"/>
                    <a:pt x="201" y="69"/>
                    <a:pt x="200" y="73"/>
                  </a:cubicBezTo>
                  <a:cubicBezTo>
                    <a:pt x="198" y="77"/>
                    <a:pt x="200" y="79"/>
                    <a:pt x="203" y="82"/>
                  </a:cubicBezTo>
                  <a:cubicBezTo>
                    <a:pt x="205" y="84"/>
                    <a:pt x="211" y="86"/>
                    <a:pt x="216" y="87"/>
                  </a:cubicBezTo>
                  <a:cubicBezTo>
                    <a:pt x="220" y="89"/>
                    <a:pt x="220" y="91"/>
                    <a:pt x="222" y="95"/>
                  </a:cubicBezTo>
                  <a:cubicBezTo>
                    <a:pt x="225" y="98"/>
                    <a:pt x="231" y="94"/>
                    <a:pt x="225" y="89"/>
                  </a:cubicBezTo>
                  <a:cubicBezTo>
                    <a:pt x="220" y="83"/>
                    <a:pt x="215" y="82"/>
                    <a:pt x="211" y="78"/>
                  </a:cubicBezTo>
                  <a:cubicBezTo>
                    <a:pt x="207" y="73"/>
                    <a:pt x="206" y="65"/>
                    <a:pt x="209" y="62"/>
                  </a:cubicBezTo>
                  <a:cubicBezTo>
                    <a:pt x="213" y="58"/>
                    <a:pt x="219" y="61"/>
                    <a:pt x="220" y="66"/>
                  </a:cubicBezTo>
                  <a:cubicBezTo>
                    <a:pt x="220" y="71"/>
                    <a:pt x="230" y="72"/>
                    <a:pt x="228" y="66"/>
                  </a:cubicBezTo>
                  <a:cubicBezTo>
                    <a:pt x="226" y="61"/>
                    <a:pt x="219" y="58"/>
                    <a:pt x="226" y="56"/>
                  </a:cubicBezTo>
                  <a:cubicBezTo>
                    <a:pt x="228" y="55"/>
                    <a:pt x="231" y="54"/>
                    <a:pt x="233" y="54"/>
                  </a:cubicBezTo>
                  <a:cubicBezTo>
                    <a:pt x="232" y="62"/>
                    <a:pt x="232" y="62"/>
                    <a:pt x="232" y="62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9" y="73"/>
                    <a:pt x="249" y="73"/>
                    <a:pt x="249" y="73"/>
                  </a:cubicBezTo>
                  <a:cubicBezTo>
                    <a:pt x="246" y="81"/>
                    <a:pt x="246" y="81"/>
                    <a:pt x="246" y="81"/>
                  </a:cubicBezTo>
                  <a:cubicBezTo>
                    <a:pt x="242" y="80"/>
                    <a:pt x="242" y="80"/>
                    <a:pt x="242" y="80"/>
                  </a:cubicBezTo>
                  <a:cubicBezTo>
                    <a:pt x="236" y="88"/>
                    <a:pt x="236" y="88"/>
                    <a:pt x="236" y="88"/>
                  </a:cubicBezTo>
                  <a:cubicBezTo>
                    <a:pt x="240" y="93"/>
                    <a:pt x="240" y="93"/>
                    <a:pt x="240" y="93"/>
                  </a:cubicBezTo>
                  <a:cubicBezTo>
                    <a:pt x="248" y="98"/>
                    <a:pt x="248" y="98"/>
                    <a:pt x="248" y="98"/>
                  </a:cubicBezTo>
                  <a:cubicBezTo>
                    <a:pt x="248" y="117"/>
                    <a:pt x="248" y="117"/>
                    <a:pt x="248" y="117"/>
                  </a:cubicBezTo>
                  <a:cubicBezTo>
                    <a:pt x="241" y="118"/>
                    <a:pt x="241" y="118"/>
                    <a:pt x="241" y="118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8"/>
                    <a:pt x="227" y="138"/>
                    <a:pt x="227" y="138"/>
                  </a:cubicBezTo>
                  <a:cubicBezTo>
                    <a:pt x="235" y="149"/>
                    <a:pt x="235" y="149"/>
                    <a:pt x="235" y="149"/>
                  </a:cubicBezTo>
                  <a:cubicBezTo>
                    <a:pt x="241" y="149"/>
                    <a:pt x="241" y="149"/>
                    <a:pt x="241" y="149"/>
                  </a:cubicBezTo>
                  <a:cubicBezTo>
                    <a:pt x="242" y="151"/>
                    <a:pt x="242" y="151"/>
                    <a:pt x="242" y="151"/>
                  </a:cubicBezTo>
                  <a:cubicBezTo>
                    <a:pt x="245" y="156"/>
                    <a:pt x="245" y="156"/>
                    <a:pt x="245" y="156"/>
                  </a:cubicBezTo>
                  <a:cubicBezTo>
                    <a:pt x="248" y="152"/>
                    <a:pt x="248" y="152"/>
                    <a:pt x="248" y="152"/>
                  </a:cubicBezTo>
                  <a:cubicBezTo>
                    <a:pt x="253" y="153"/>
                    <a:pt x="253" y="153"/>
                    <a:pt x="253" y="153"/>
                  </a:cubicBezTo>
                  <a:cubicBezTo>
                    <a:pt x="258" y="150"/>
                    <a:pt x="258" y="150"/>
                    <a:pt x="258" y="150"/>
                  </a:cubicBezTo>
                  <a:cubicBezTo>
                    <a:pt x="258" y="150"/>
                    <a:pt x="258" y="155"/>
                    <a:pt x="258" y="156"/>
                  </a:cubicBezTo>
                  <a:cubicBezTo>
                    <a:pt x="258" y="157"/>
                    <a:pt x="260" y="157"/>
                    <a:pt x="260" y="157"/>
                  </a:cubicBezTo>
                  <a:cubicBezTo>
                    <a:pt x="261" y="162"/>
                    <a:pt x="261" y="162"/>
                    <a:pt x="261" y="162"/>
                  </a:cubicBezTo>
                  <a:cubicBezTo>
                    <a:pt x="264" y="172"/>
                    <a:pt x="264" y="172"/>
                    <a:pt x="264" y="172"/>
                  </a:cubicBezTo>
                  <a:cubicBezTo>
                    <a:pt x="260" y="176"/>
                    <a:pt x="260" y="176"/>
                    <a:pt x="260" y="176"/>
                  </a:cubicBezTo>
                  <a:cubicBezTo>
                    <a:pt x="262" y="185"/>
                    <a:pt x="262" y="185"/>
                    <a:pt x="262" y="185"/>
                  </a:cubicBezTo>
                  <a:cubicBezTo>
                    <a:pt x="256" y="195"/>
                    <a:pt x="256" y="195"/>
                    <a:pt x="256" y="195"/>
                  </a:cubicBezTo>
                  <a:cubicBezTo>
                    <a:pt x="251" y="195"/>
                    <a:pt x="251" y="195"/>
                    <a:pt x="251" y="195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7" y="208"/>
                    <a:pt x="257" y="208"/>
                    <a:pt x="257" y="208"/>
                  </a:cubicBezTo>
                  <a:cubicBezTo>
                    <a:pt x="251" y="215"/>
                    <a:pt x="251" y="215"/>
                    <a:pt x="251" y="215"/>
                  </a:cubicBezTo>
                  <a:cubicBezTo>
                    <a:pt x="254" y="218"/>
                    <a:pt x="254" y="218"/>
                    <a:pt x="254" y="218"/>
                  </a:cubicBezTo>
                  <a:cubicBezTo>
                    <a:pt x="255" y="224"/>
                    <a:pt x="255" y="224"/>
                    <a:pt x="255" y="224"/>
                  </a:cubicBezTo>
                  <a:cubicBezTo>
                    <a:pt x="261" y="227"/>
                    <a:pt x="261" y="227"/>
                    <a:pt x="261" y="227"/>
                  </a:cubicBezTo>
                  <a:cubicBezTo>
                    <a:pt x="265" y="232"/>
                    <a:pt x="265" y="232"/>
                    <a:pt x="265" y="232"/>
                  </a:cubicBezTo>
                  <a:cubicBezTo>
                    <a:pt x="260" y="239"/>
                    <a:pt x="260" y="239"/>
                    <a:pt x="260" y="239"/>
                  </a:cubicBezTo>
                  <a:cubicBezTo>
                    <a:pt x="263" y="243"/>
                    <a:pt x="263" y="243"/>
                    <a:pt x="263" y="243"/>
                  </a:cubicBezTo>
                  <a:cubicBezTo>
                    <a:pt x="264" y="251"/>
                    <a:pt x="264" y="251"/>
                    <a:pt x="264" y="251"/>
                  </a:cubicBezTo>
                  <a:cubicBezTo>
                    <a:pt x="259" y="253"/>
                    <a:pt x="259" y="253"/>
                    <a:pt x="259" y="253"/>
                  </a:cubicBezTo>
                  <a:cubicBezTo>
                    <a:pt x="262" y="261"/>
                    <a:pt x="262" y="261"/>
                    <a:pt x="262" y="261"/>
                  </a:cubicBezTo>
                  <a:cubicBezTo>
                    <a:pt x="268" y="260"/>
                    <a:pt x="268" y="260"/>
                    <a:pt x="268" y="260"/>
                  </a:cubicBezTo>
                  <a:cubicBezTo>
                    <a:pt x="274" y="266"/>
                    <a:pt x="274" y="266"/>
                    <a:pt x="274" y="266"/>
                  </a:cubicBezTo>
                  <a:cubicBezTo>
                    <a:pt x="277" y="277"/>
                    <a:pt x="277" y="277"/>
                    <a:pt x="277" y="277"/>
                  </a:cubicBezTo>
                  <a:cubicBezTo>
                    <a:pt x="271" y="283"/>
                    <a:pt x="271" y="283"/>
                    <a:pt x="271" y="283"/>
                  </a:cubicBezTo>
                  <a:cubicBezTo>
                    <a:pt x="274" y="289"/>
                    <a:pt x="274" y="289"/>
                    <a:pt x="274" y="289"/>
                  </a:cubicBezTo>
                  <a:cubicBezTo>
                    <a:pt x="280" y="289"/>
                    <a:pt x="280" y="289"/>
                    <a:pt x="280" y="289"/>
                  </a:cubicBezTo>
                  <a:cubicBezTo>
                    <a:pt x="286" y="294"/>
                    <a:pt x="286" y="294"/>
                    <a:pt x="286" y="294"/>
                  </a:cubicBezTo>
                  <a:cubicBezTo>
                    <a:pt x="290" y="290"/>
                    <a:pt x="290" y="290"/>
                    <a:pt x="290" y="290"/>
                  </a:cubicBezTo>
                  <a:cubicBezTo>
                    <a:pt x="290" y="305"/>
                    <a:pt x="290" y="305"/>
                    <a:pt x="290" y="305"/>
                  </a:cubicBezTo>
                  <a:cubicBezTo>
                    <a:pt x="293" y="311"/>
                    <a:pt x="293" y="311"/>
                    <a:pt x="293" y="311"/>
                  </a:cubicBezTo>
                  <a:cubicBezTo>
                    <a:pt x="284" y="319"/>
                    <a:pt x="284" y="319"/>
                    <a:pt x="284" y="319"/>
                  </a:cubicBezTo>
                  <a:cubicBezTo>
                    <a:pt x="278" y="328"/>
                    <a:pt x="278" y="328"/>
                    <a:pt x="278" y="328"/>
                  </a:cubicBezTo>
                  <a:cubicBezTo>
                    <a:pt x="284" y="335"/>
                    <a:pt x="284" y="335"/>
                    <a:pt x="284" y="335"/>
                  </a:cubicBezTo>
                  <a:cubicBezTo>
                    <a:pt x="285" y="344"/>
                    <a:pt x="285" y="344"/>
                    <a:pt x="285" y="344"/>
                  </a:cubicBezTo>
                  <a:cubicBezTo>
                    <a:pt x="279" y="348"/>
                    <a:pt x="279" y="348"/>
                    <a:pt x="279" y="348"/>
                  </a:cubicBezTo>
                  <a:cubicBezTo>
                    <a:pt x="278" y="356"/>
                    <a:pt x="278" y="356"/>
                    <a:pt x="278" y="356"/>
                  </a:cubicBezTo>
                  <a:cubicBezTo>
                    <a:pt x="268" y="366"/>
                    <a:pt x="268" y="366"/>
                    <a:pt x="268" y="366"/>
                  </a:cubicBezTo>
                  <a:cubicBezTo>
                    <a:pt x="264" y="361"/>
                    <a:pt x="264" y="361"/>
                    <a:pt x="264" y="361"/>
                  </a:cubicBezTo>
                  <a:cubicBezTo>
                    <a:pt x="257" y="358"/>
                    <a:pt x="257" y="358"/>
                    <a:pt x="257" y="358"/>
                  </a:cubicBezTo>
                  <a:cubicBezTo>
                    <a:pt x="251" y="361"/>
                    <a:pt x="251" y="361"/>
                    <a:pt x="251" y="361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238" y="348"/>
                    <a:pt x="238" y="348"/>
                    <a:pt x="238" y="348"/>
                  </a:cubicBezTo>
                  <a:cubicBezTo>
                    <a:pt x="233" y="352"/>
                    <a:pt x="233" y="352"/>
                    <a:pt x="233" y="352"/>
                  </a:cubicBezTo>
                  <a:cubicBezTo>
                    <a:pt x="226" y="343"/>
                    <a:pt x="226" y="343"/>
                    <a:pt x="226" y="343"/>
                  </a:cubicBezTo>
                  <a:cubicBezTo>
                    <a:pt x="224" y="336"/>
                    <a:pt x="224" y="336"/>
                    <a:pt x="224" y="336"/>
                  </a:cubicBezTo>
                  <a:cubicBezTo>
                    <a:pt x="212" y="343"/>
                    <a:pt x="212" y="343"/>
                    <a:pt x="212" y="343"/>
                  </a:cubicBezTo>
                  <a:cubicBezTo>
                    <a:pt x="209" y="348"/>
                    <a:pt x="209" y="348"/>
                    <a:pt x="209" y="348"/>
                  </a:cubicBezTo>
                  <a:cubicBezTo>
                    <a:pt x="183" y="349"/>
                    <a:pt x="183" y="349"/>
                    <a:pt x="183" y="349"/>
                  </a:cubicBezTo>
                  <a:cubicBezTo>
                    <a:pt x="171" y="340"/>
                    <a:pt x="171" y="340"/>
                    <a:pt x="171" y="340"/>
                  </a:cubicBezTo>
                  <a:cubicBezTo>
                    <a:pt x="172" y="334"/>
                    <a:pt x="172" y="334"/>
                    <a:pt x="172" y="334"/>
                  </a:cubicBezTo>
                  <a:cubicBezTo>
                    <a:pt x="162" y="330"/>
                    <a:pt x="162" y="330"/>
                    <a:pt x="162" y="330"/>
                  </a:cubicBezTo>
                  <a:cubicBezTo>
                    <a:pt x="160" y="333"/>
                    <a:pt x="160" y="333"/>
                    <a:pt x="160" y="333"/>
                  </a:cubicBezTo>
                  <a:cubicBezTo>
                    <a:pt x="150" y="326"/>
                    <a:pt x="150" y="326"/>
                    <a:pt x="150" y="326"/>
                  </a:cubicBezTo>
                  <a:cubicBezTo>
                    <a:pt x="146" y="324"/>
                    <a:pt x="146" y="324"/>
                    <a:pt x="146" y="324"/>
                  </a:cubicBezTo>
                  <a:cubicBezTo>
                    <a:pt x="141" y="327"/>
                    <a:pt x="141" y="327"/>
                    <a:pt x="141" y="327"/>
                  </a:cubicBezTo>
                  <a:cubicBezTo>
                    <a:pt x="132" y="319"/>
                    <a:pt x="132" y="319"/>
                    <a:pt x="132" y="319"/>
                  </a:cubicBezTo>
                  <a:cubicBezTo>
                    <a:pt x="127" y="319"/>
                    <a:pt x="127" y="319"/>
                    <a:pt x="127" y="319"/>
                  </a:cubicBezTo>
                  <a:cubicBezTo>
                    <a:pt x="123" y="311"/>
                    <a:pt x="123" y="311"/>
                    <a:pt x="123" y="311"/>
                  </a:cubicBezTo>
                  <a:cubicBezTo>
                    <a:pt x="106" y="313"/>
                    <a:pt x="106" y="313"/>
                    <a:pt x="106" y="313"/>
                  </a:cubicBezTo>
                  <a:cubicBezTo>
                    <a:pt x="102" y="303"/>
                    <a:pt x="102" y="303"/>
                    <a:pt x="102" y="303"/>
                  </a:cubicBezTo>
                  <a:cubicBezTo>
                    <a:pt x="104" y="298"/>
                    <a:pt x="104" y="298"/>
                    <a:pt x="104" y="298"/>
                  </a:cubicBezTo>
                  <a:cubicBezTo>
                    <a:pt x="97" y="291"/>
                    <a:pt x="97" y="291"/>
                    <a:pt x="97" y="291"/>
                  </a:cubicBezTo>
                  <a:cubicBezTo>
                    <a:pt x="95" y="277"/>
                    <a:pt x="95" y="277"/>
                    <a:pt x="95" y="277"/>
                  </a:cubicBezTo>
                  <a:cubicBezTo>
                    <a:pt x="88" y="268"/>
                    <a:pt x="88" y="268"/>
                    <a:pt x="88" y="268"/>
                  </a:cubicBezTo>
                  <a:cubicBezTo>
                    <a:pt x="79" y="267"/>
                    <a:pt x="79" y="267"/>
                    <a:pt x="79" y="267"/>
                  </a:cubicBezTo>
                  <a:cubicBezTo>
                    <a:pt x="73" y="272"/>
                    <a:pt x="73" y="272"/>
                    <a:pt x="73" y="272"/>
                  </a:cubicBezTo>
                  <a:cubicBezTo>
                    <a:pt x="68" y="266"/>
                    <a:pt x="68" y="266"/>
                    <a:pt x="68" y="266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0" y="263"/>
                    <a:pt x="50" y="263"/>
                    <a:pt x="50" y="263"/>
                  </a:cubicBezTo>
                  <a:cubicBezTo>
                    <a:pt x="54" y="256"/>
                    <a:pt x="54" y="256"/>
                    <a:pt x="54" y="256"/>
                  </a:cubicBezTo>
                  <a:cubicBezTo>
                    <a:pt x="44" y="246"/>
                    <a:pt x="44" y="246"/>
                    <a:pt x="44" y="246"/>
                  </a:cubicBezTo>
                  <a:cubicBezTo>
                    <a:pt x="31" y="251"/>
                    <a:pt x="31" y="251"/>
                    <a:pt x="31" y="251"/>
                  </a:cubicBezTo>
                  <a:cubicBezTo>
                    <a:pt x="25" y="247"/>
                    <a:pt x="25" y="247"/>
                    <a:pt x="25" y="247"/>
                  </a:cubicBezTo>
                  <a:cubicBezTo>
                    <a:pt x="12" y="246"/>
                    <a:pt x="12" y="246"/>
                    <a:pt x="12" y="246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9" y="216"/>
                    <a:pt x="9" y="216"/>
                    <a:pt x="9" y="216"/>
                  </a:cubicBezTo>
                  <a:cubicBezTo>
                    <a:pt x="10" y="198"/>
                    <a:pt x="10" y="198"/>
                    <a:pt x="10" y="198"/>
                  </a:cubicBezTo>
                  <a:cubicBezTo>
                    <a:pt x="18" y="198"/>
                    <a:pt x="18" y="198"/>
                    <a:pt x="18" y="198"/>
                  </a:cubicBezTo>
                  <a:cubicBezTo>
                    <a:pt x="19" y="191"/>
                    <a:pt x="19" y="191"/>
                    <a:pt x="19" y="191"/>
                  </a:cubicBezTo>
                  <a:cubicBezTo>
                    <a:pt x="35" y="183"/>
                    <a:pt x="35" y="183"/>
                    <a:pt x="35" y="183"/>
                  </a:cubicBezTo>
                  <a:cubicBezTo>
                    <a:pt x="53" y="183"/>
                    <a:pt x="53" y="183"/>
                    <a:pt x="53" y="183"/>
                  </a:cubicBezTo>
                  <a:cubicBezTo>
                    <a:pt x="55" y="175"/>
                    <a:pt x="55" y="175"/>
                    <a:pt x="55" y="175"/>
                  </a:cubicBezTo>
                  <a:cubicBezTo>
                    <a:pt x="60" y="175"/>
                    <a:pt x="60" y="175"/>
                    <a:pt x="60" y="175"/>
                  </a:cubicBezTo>
                  <a:cubicBezTo>
                    <a:pt x="67" y="169"/>
                    <a:pt x="67" y="169"/>
                    <a:pt x="67" y="169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69" y="161"/>
                    <a:pt x="69" y="161"/>
                    <a:pt x="69" y="161"/>
                  </a:cubicBezTo>
                  <a:cubicBezTo>
                    <a:pt x="76" y="156"/>
                    <a:pt x="76" y="156"/>
                    <a:pt x="76" y="156"/>
                  </a:cubicBezTo>
                  <a:cubicBezTo>
                    <a:pt x="70" y="150"/>
                    <a:pt x="70" y="150"/>
                    <a:pt x="70" y="150"/>
                  </a:cubicBezTo>
                  <a:cubicBezTo>
                    <a:pt x="72" y="142"/>
                    <a:pt x="72" y="142"/>
                    <a:pt x="72" y="142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2" y="123"/>
                    <a:pt x="72" y="123"/>
                    <a:pt x="72" y="123"/>
                  </a:cubicBezTo>
                  <a:cubicBezTo>
                    <a:pt x="80" y="112"/>
                    <a:pt x="80" y="112"/>
                    <a:pt x="80" y="112"/>
                  </a:cubicBezTo>
                  <a:close/>
                  <a:moveTo>
                    <a:pt x="163" y="12"/>
                  </a:moveTo>
                  <a:cubicBezTo>
                    <a:pt x="163" y="12"/>
                    <a:pt x="164" y="15"/>
                    <a:pt x="169" y="17"/>
                  </a:cubicBezTo>
                  <a:cubicBezTo>
                    <a:pt x="173" y="20"/>
                    <a:pt x="178" y="16"/>
                    <a:pt x="178" y="12"/>
                  </a:cubicBezTo>
                  <a:cubicBezTo>
                    <a:pt x="177" y="8"/>
                    <a:pt x="175" y="10"/>
                    <a:pt x="176" y="7"/>
                  </a:cubicBezTo>
                  <a:cubicBezTo>
                    <a:pt x="177" y="3"/>
                    <a:pt x="169" y="0"/>
                    <a:pt x="167" y="2"/>
                  </a:cubicBezTo>
                  <a:cubicBezTo>
                    <a:pt x="165" y="4"/>
                    <a:pt x="163" y="11"/>
                    <a:pt x="163" y="12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5" name="Freeform 92"/>
            <p:cNvSpPr>
              <a:spLocks/>
            </p:cNvSpPr>
            <p:nvPr/>
          </p:nvSpPr>
          <p:spPr bwMode="auto">
            <a:xfrm>
              <a:off x="2015" y="3170"/>
              <a:ext cx="737" cy="531"/>
            </a:xfrm>
            <a:custGeom>
              <a:avLst/>
              <a:gdLst>
                <a:gd name="T0" fmla="*/ 702 w 737"/>
                <a:gd name="T1" fmla="*/ 373 h 531"/>
                <a:gd name="T2" fmla="*/ 723 w 737"/>
                <a:gd name="T3" fmla="*/ 417 h 531"/>
                <a:gd name="T4" fmla="*/ 687 w 737"/>
                <a:gd name="T5" fmla="*/ 437 h 531"/>
                <a:gd name="T6" fmla="*/ 631 w 737"/>
                <a:gd name="T7" fmla="*/ 435 h 531"/>
                <a:gd name="T8" fmla="*/ 608 w 737"/>
                <a:gd name="T9" fmla="*/ 437 h 531"/>
                <a:gd name="T10" fmla="*/ 579 w 737"/>
                <a:gd name="T11" fmla="*/ 425 h 531"/>
                <a:gd name="T12" fmla="*/ 539 w 737"/>
                <a:gd name="T13" fmla="*/ 429 h 531"/>
                <a:gd name="T14" fmla="*/ 508 w 737"/>
                <a:gd name="T15" fmla="*/ 421 h 531"/>
                <a:gd name="T16" fmla="*/ 469 w 737"/>
                <a:gd name="T17" fmla="*/ 419 h 531"/>
                <a:gd name="T18" fmla="*/ 454 w 737"/>
                <a:gd name="T19" fmla="*/ 477 h 531"/>
                <a:gd name="T20" fmla="*/ 412 w 737"/>
                <a:gd name="T21" fmla="*/ 498 h 531"/>
                <a:gd name="T22" fmla="*/ 389 w 737"/>
                <a:gd name="T23" fmla="*/ 527 h 531"/>
                <a:gd name="T24" fmla="*/ 383 w 737"/>
                <a:gd name="T25" fmla="*/ 525 h 531"/>
                <a:gd name="T26" fmla="*/ 354 w 737"/>
                <a:gd name="T27" fmla="*/ 512 h 531"/>
                <a:gd name="T28" fmla="*/ 331 w 737"/>
                <a:gd name="T29" fmla="*/ 485 h 531"/>
                <a:gd name="T30" fmla="*/ 314 w 737"/>
                <a:gd name="T31" fmla="*/ 471 h 531"/>
                <a:gd name="T32" fmla="*/ 281 w 737"/>
                <a:gd name="T33" fmla="*/ 427 h 531"/>
                <a:gd name="T34" fmla="*/ 239 w 737"/>
                <a:gd name="T35" fmla="*/ 406 h 531"/>
                <a:gd name="T36" fmla="*/ 227 w 737"/>
                <a:gd name="T37" fmla="*/ 421 h 531"/>
                <a:gd name="T38" fmla="*/ 196 w 737"/>
                <a:gd name="T39" fmla="*/ 435 h 531"/>
                <a:gd name="T40" fmla="*/ 162 w 737"/>
                <a:gd name="T41" fmla="*/ 444 h 531"/>
                <a:gd name="T42" fmla="*/ 141 w 737"/>
                <a:gd name="T43" fmla="*/ 439 h 531"/>
                <a:gd name="T44" fmla="*/ 114 w 737"/>
                <a:gd name="T45" fmla="*/ 454 h 531"/>
                <a:gd name="T46" fmla="*/ 96 w 737"/>
                <a:gd name="T47" fmla="*/ 444 h 531"/>
                <a:gd name="T48" fmla="*/ 96 w 737"/>
                <a:gd name="T49" fmla="*/ 412 h 531"/>
                <a:gd name="T50" fmla="*/ 79 w 737"/>
                <a:gd name="T51" fmla="*/ 387 h 531"/>
                <a:gd name="T52" fmla="*/ 58 w 737"/>
                <a:gd name="T53" fmla="*/ 367 h 531"/>
                <a:gd name="T54" fmla="*/ 68 w 737"/>
                <a:gd name="T55" fmla="*/ 346 h 531"/>
                <a:gd name="T56" fmla="*/ 60 w 737"/>
                <a:gd name="T57" fmla="*/ 314 h 531"/>
                <a:gd name="T58" fmla="*/ 66 w 737"/>
                <a:gd name="T59" fmla="*/ 283 h 531"/>
                <a:gd name="T60" fmla="*/ 54 w 737"/>
                <a:gd name="T61" fmla="*/ 252 h 531"/>
                <a:gd name="T62" fmla="*/ 10 w 737"/>
                <a:gd name="T63" fmla="*/ 204 h 531"/>
                <a:gd name="T64" fmla="*/ 0 w 737"/>
                <a:gd name="T65" fmla="*/ 185 h 531"/>
                <a:gd name="T66" fmla="*/ 0 w 737"/>
                <a:gd name="T67" fmla="*/ 175 h 531"/>
                <a:gd name="T68" fmla="*/ 23 w 737"/>
                <a:gd name="T69" fmla="*/ 141 h 531"/>
                <a:gd name="T70" fmla="*/ 23 w 737"/>
                <a:gd name="T71" fmla="*/ 123 h 531"/>
                <a:gd name="T72" fmla="*/ 50 w 737"/>
                <a:gd name="T73" fmla="*/ 96 h 531"/>
                <a:gd name="T74" fmla="*/ 66 w 737"/>
                <a:gd name="T75" fmla="*/ 71 h 531"/>
                <a:gd name="T76" fmla="*/ 96 w 737"/>
                <a:gd name="T77" fmla="*/ 21 h 531"/>
                <a:gd name="T78" fmla="*/ 104 w 737"/>
                <a:gd name="T79" fmla="*/ 33 h 531"/>
                <a:gd name="T80" fmla="*/ 152 w 737"/>
                <a:gd name="T81" fmla="*/ 0 h 531"/>
                <a:gd name="T82" fmla="*/ 162 w 737"/>
                <a:gd name="T83" fmla="*/ 37 h 531"/>
                <a:gd name="T84" fmla="*/ 168 w 737"/>
                <a:gd name="T85" fmla="*/ 100 h 531"/>
                <a:gd name="T86" fmla="*/ 208 w 737"/>
                <a:gd name="T87" fmla="*/ 110 h 531"/>
                <a:gd name="T88" fmla="*/ 256 w 737"/>
                <a:gd name="T89" fmla="*/ 121 h 531"/>
                <a:gd name="T90" fmla="*/ 260 w 737"/>
                <a:gd name="T91" fmla="*/ 154 h 531"/>
                <a:gd name="T92" fmla="*/ 285 w 737"/>
                <a:gd name="T93" fmla="*/ 141 h 531"/>
                <a:gd name="T94" fmla="*/ 308 w 737"/>
                <a:gd name="T95" fmla="*/ 144 h 531"/>
                <a:gd name="T96" fmla="*/ 341 w 737"/>
                <a:gd name="T97" fmla="*/ 164 h 531"/>
                <a:gd name="T98" fmla="*/ 360 w 737"/>
                <a:gd name="T99" fmla="*/ 208 h 531"/>
                <a:gd name="T100" fmla="*/ 364 w 737"/>
                <a:gd name="T101" fmla="*/ 239 h 531"/>
                <a:gd name="T102" fmla="*/ 408 w 737"/>
                <a:gd name="T103" fmla="*/ 252 h 531"/>
                <a:gd name="T104" fmla="*/ 437 w 737"/>
                <a:gd name="T105" fmla="*/ 269 h 531"/>
                <a:gd name="T106" fmla="*/ 456 w 737"/>
                <a:gd name="T107" fmla="*/ 267 h 531"/>
                <a:gd name="T108" fmla="*/ 481 w 737"/>
                <a:gd name="T109" fmla="*/ 275 h 531"/>
                <a:gd name="T110" fmla="*/ 500 w 737"/>
                <a:gd name="T111" fmla="*/ 296 h 531"/>
                <a:gd name="T112" fmla="*/ 579 w 737"/>
                <a:gd name="T113" fmla="*/ 312 h 531"/>
                <a:gd name="T114" fmla="*/ 610 w 737"/>
                <a:gd name="T115" fmla="*/ 287 h 531"/>
                <a:gd name="T116" fmla="*/ 629 w 737"/>
                <a:gd name="T117" fmla="*/ 321 h 531"/>
                <a:gd name="T118" fmla="*/ 654 w 737"/>
                <a:gd name="T119" fmla="*/ 321 h 531"/>
                <a:gd name="T120" fmla="*/ 679 w 737"/>
                <a:gd name="T121" fmla="*/ 333 h 531"/>
                <a:gd name="T122" fmla="*/ 702 w 737"/>
                <a:gd name="T123" fmla="*/ 35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37" h="531">
                  <a:moveTo>
                    <a:pt x="702" y="350"/>
                  </a:moveTo>
                  <a:lnTo>
                    <a:pt x="702" y="373"/>
                  </a:lnTo>
                  <a:lnTo>
                    <a:pt x="737" y="396"/>
                  </a:lnTo>
                  <a:lnTo>
                    <a:pt x="723" y="417"/>
                  </a:lnTo>
                  <a:lnTo>
                    <a:pt x="708" y="421"/>
                  </a:lnTo>
                  <a:lnTo>
                    <a:pt x="687" y="437"/>
                  </a:lnTo>
                  <a:lnTo>
                    <a:pt x="658" y="421"/>
                  </a:lnTo>
                  <a:lnTo>
                    <a:pt x="631" y="435"/>
                  </a:lnTo>
                  <a:lnTo>
                    <a:pt x="627" y="450"/>
                  </a:lnTo>
                  <a:lnTo>
                    <a:pt x="608" y="437"/>
                  </a:lnTo>
                  <a:lnTo>
                    <a:pt x="596" y="442"/>
                  </a:lnTo>
                  <a:lnTo>
                    <a:pt x="579" y="425"/>
                  </a:lnTo>
                  <a:lnTo>
                    <a:pt x="564" y="431"/>
                  </a:lnTo>
                  <a:lnTo>
                    <a:pt x="539" y="429"/>
                  </a:lnTo>
                  <a:lnTo>
                    <a:pt x="533" y="421"/>
                  </a:lnTo>
                  <a:lnTo>
                    <a:pt x="508" y="421"/>
                  </a:lnTo>
                  <a:lnTo>
                    <a:pt x="496" y="414"/>
                  </a:lnTo>
                  <a:lnTo>
                    <a:pt x="469" y="419"/>
                  </a:lnTo>
                  <a:lnTo>
                    <a:pt x="454" y="454"/>
                  </a:lnTo>
                  <a:lnTo>
                    <a:pt x="454" y="477"/>
                  </a:lnTo>
                  <a:lnTo>
                    <a:pt x="435" y="481"/>
                  </a:lnTo>
                  <a:lnTo>
                    <a:pt x="412" y="498"/>
                  </a:lnTo>
                  <a:lnTo>
                    <a:pt x="410" y="510"/>
                  </a:lnTo>
                  <a:lnTo>
                    <a:pt x="389" y="527"/>
                  </a:lnTo>
                  <a:lnTo>
                    <a:pt x="383" y="531"/>
                  </a:lnTo>
                  <a:lnTo>
                    <a:pt x="383" y="525"/>
                  </a:lnTo>
                  <a:lnTo>
                    <a:pt x="369" y="517"/>
                  </a:lnTo>
                  <a:lnTo>
                    <a:pt x="354" y="512"/>
                  </a:lnTo>
                  <a:lnTo>
                    <a:pt x="331" y="500"/>
                  </a:lnTo>
                  <a:lnTo>
                    <a:pt x="331" y="485"/>
                  </a:lnTo>
                  <a:lnTo>
                    <a:pt x="314" y="485"/>
                  </a:lnTo>
                  <a:lnTo>
                    <a:pt x="314" y="471"/>
                  </a:lnTo>
                  <a:lnTo>
                    <a:pt x="306" y="450"/>
                  </a:lnTo>
                  <a:lnTo>
                    <a:pt x="281" y="427"/>
                  </a:lnTo>
                  <a:lnTo>
                    <a:pt x="258" y="423"/>
                  </a:lnTo>
                  <a:lnTo>
                    <a:pt x="239" y="406"/>
                  </a:lnTo>
                  <a:lnTo>
                    <a:pt x="227" y="404"/>
                  </a:lnTo>
                  <a:lnTo>
                    <a:pt x="227" y="421"/>
                  </a:lnTo>
                  <a:lnTo>
                    <a:pt x="208" y="425"/>
                  </a:lnTo>
                  <a:lnTo>
                    <a:pt x="196" y="435"/>
                  </a:lnTo>
                  <a:lnTo>
                    <a:pt x="173" y="435"/>
                  </a:lnTo>
                  <a:lnTo>
                    <a:pt x="162" y="444"/>
                  </a:lnTo>
                  <a:lnTo>
                    <a:pt x="148" y="437"/>
                  </a:lnTo>
                  <a:lnTo>
                    <a:pt x="141" y="439"/>
                  </a:lnTo>
                  <a:lnTo>
                    <a:pt x="139" y="454"/>
                  </a:lnTo>
                  <a:lnTo>
                    <a:pt x="114" y="454"/>
                  </a:lnTo>
                  <a:lnTo>
                    <a:pt x="102" y="450"/>
                  </a:lnTo>
                  <a:lnTo>
                    <a:pt x="96" y="444"/>
                  </a:lnTo>
                  <a:lnTo>
                    <a:pt x="93" y="427"/>
                  </a:lnTo>
                  <a:lnTo>
                    <a:pt x="96" y="412"/>
                  </a:lnTo>
                  <a:lnTo>
                    <a:pt x="83" y="408"/>
                  </a:lnTo>
                  <a:lnTo>
                    <a:pt x="79" y="387"/>
                  </a:lnTo>
                  <a:lnTo>
                    <a:pt x="62" y="381"/>
                  </a:lnTo>
                  <a:lnTo>
                    <a:pt x="58" y="367"/>
                  </a:lnTo>
                  <a:lnTo>
                    <a:pt x="66" y="356"/>
                  </a:lnTo>
                  <a:lnTo>
                    <a:pt x="68" y="346"/>
                  </a:lnTo>
                  <a:lnTo>
                    <a:pt x="58" y="331"/>
                  </a:lnTo>
                  <a:lnTo>
                    <a:pt x="60" y="314"/>
                  </a:lnTo>
                  <a:lnTo>
                    <a:pt x="60" y="294"/>
                  </a:lnTo>
                  <a:lnTo>
                    <a:pt x="66" y="283"/>
                  </a:lnTo>
                  <a:lnTo>
                    <a:pt x="66" y="262"/>
                  </a:lnTo>
                  <a:lnTo>
                    <a:pt x="54" y="252"/>
                  </a:lnTo>
                  <a:lnTo>
                    <a:pt x="48" y="235"/>
                  </a:lnTo>
                  <a:lnTo>
                    <a:pt x="10" y="204"/>
                  </a:lnTo>
                  <a:lnTo>
                    <a:pt x="12" y="194"/>
                  </a:lnTo>
                  <a:lnTo>
                    <a:pt x="0" y="185"/>
                  </a:lnTo>
                  <a:lnTo>
                    <a:pt x="2" y="185"/>
                  </a:lnTo>
                  <a:lnTo>
                    <a:pt x="0" y="175"/>
                  </a:lnTo>
                  <a:lnTo>
                    <a:pt x="18" y="156"/>
                  </a:lnTo>
                  <a:lnTo>
                    <a:pt x="23" y="141"/>
                  </a:lnTo>
                  <a:lnTo>
                    <a:pt x="25" y="137"/>
                  </a:lnTo>
                  <a:lnTo>
                    <a:pt x="23" y="123"/>
                  </a:lnTo>
                  <a:lnTo>
                    <a:pt x="29" y="104"/>
                  </a:lnTo>
                  <a:lnTo>
                    <a:pt x="50" y="96"/>
                  </a:lnTo>
                  <a:lnTo>
                    <a:pt x="50" y="77"/>
                  </a:lnTo>
                  <a:lnTo>
                    <a:pt x="66" y="71"/>
                  </a:lnTo>
                  <a:lnTo>
                    <a:pt x="64" y="52"/>
                  </a:lnTo>
                  <a:lnTo>
                    <a:pt x="96" y="21"/>
                  </a:lnTo>
                  <a:lnTo>
                    <a:pt x="108" y="25"/>
                  </a:lnTo>
                  <a:lnTo>
                    <a:pt x="104" y="33"/>
                  </a:lnTo>
                  <a:lnTo>
                    <a:pt x="118" y="31"/>
                  </a:lnTo>
                  <a:lnTo>
                    <a:pt x="152" y="0"/>
                  </a:lnTo>
                  <a:lnTo>
                    <a:pt x="164" y="0"/>
                  </a:lnTo>
                  <a:lnTo>
                    <a:pt x="162" y="37"/>
                  </a:lnTo>
                  <a:lnTo>
                    <a:pt x="143" y="69"/>
                  </a:lnTo>
                  <a:lnTo>
                    <a:pt x="168" y="100"/>
                  </a:lnTo>
                  <a:lnTo>
                    <a:pt x="196" y="102"/>
                  </a:lnTo>
                  <a:lnTo>
                    <a:pt x="208" y="110"/>
                  </a:lnTo>
                  <a:lnTo>
                    <a:pt x="235" y="100"/>
                  </a:lnTo>
                  <a:lnTo>
                    <a:pt x="256" y="121"/>
                  </a:lnTo>
                  <a:lnTo>
                    <a:pt x="248" y="135"/>
                  </a:lnTo>
                  <a:lnTo>
                    <a:pt x="260" y="154"/>
                  </a:lnTo>
                  <a:lnTo>
                    <a:pt x="277" y="154"/>
                  </a:lnTo>
                  <a:lnTo>
                    <a:pt x="285" y="141"/>
                  </a:lnTo>
                  <a:lnTo>
                    <a:pt x="296" y="154"/>
                  </a:lnTo>
                  <a:lnTo>
                    <a:pt x="308" y="144"/>
                  </a:lnTo>
                  <a:lnTo>
                    <a:pt x="327" y="146"/>
                  </a:lnTo>
                  <a:lnTo>
                    <a:pt x="341" y="164"/>
                  </a:lnTo>
                  <a:lnTo>
                    <a:pt x="346" y="194"/>
                  </a:lnTo>
                  <a:lnTo>
                    <a:pt x="360" y="208"/>
                  </a:lnTo>
                  <a:lnTo>
                    <a:pt x="356" y="219"/>
                  </a:lnTo>
                  <a:lnTo>
                    <a:pt x="364" y="239"/>
                  </a:lnTo>
                  <a:lnTo>
                    <a:pt x="400" y="235"/>
                  </a:lnTo>
                  <a:lnTo>
                    <a:pt x="408" y="252"/>
                  </a:lnTo>
                  <a:lnTo>
                    <a:pt x="419" y="252"/>
                  </a:lnTo>
                  <a:lnTo>
                    <a:pt x="437" y="269"/>
                  </a:lnTo>
                  <a:lnTo>
                    <a:pt x="448" y="262"/>
                  </a:lnTo>
                  <a:lnTo>
                    <a:pt x="456" y="267"/>
                  </a:lnTo>
                  <a:lnTo>
                    <a:pt x="477" y="281"/>
                  </a:lnTo>
                  <a:lnTo>
                    <a:pt x="481" y="275"/>
                  </a:lnTo>
                  <a:lnTo>
                    <a:pt x="502" y="283"/>
                  </a:lnTo>
                  <a:lnTo>
                    <a:pt x="500" y="296"/>
                  </a:lnTo>
                  <a:lnTo>
                    <a:pt x="525" y="314"/>
                  </a:lnTo>
                  <a:lnTo>
                    <a:pt x="579" y="312"/>
                  </a:lnTo>
                  <a:lnTo>
                    <a:pt x="585" y="302"/>
                  </a:lnTo>
                  <a:lnTo>
                    <a:pt x="610" y="287"/>
                  </a:lnTo>
                  <a:lnTo>
                    <a:pt x="614" y="302"/>
                  </a:lnTo>
                  <a:lnTo>
                    <a:pt x="629" y="321"/>
                  </a:lnTo>
                  <a:lnTo>
                    <a:pt x="639" y="312"/>
                  </a:lnTo>
                  <a:lnTo>
                    <a:pt x="654" y="321"/>
                  </a:lnTo>
                  <a:lnTo>
                    <a:pt x="667" y="339"/>
                  </a:lnTo>
                  <a:lnTo>
                    <a:pt x="679" y="333"/>
                  </a:lnTo>
                  <a:lnTo>
                    <a:pt x="694" y="339"/>
                  </a:lnTo>
                  <a:lnTo>
                    <a:pt x="702" y="35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D7465C-F0D5-DCAF-0CD5-4A22DF95B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Russia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849460D2-B6F1-860E-C155-D8E49D1BD95D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Europe, Asia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  <a:endParaRPr lang="en-US" sz="1400" b="1">
              <a:solidFill>
                <a:schemeClr val="accent1"/>
              </a:solidFill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Moscow</a:t>
            </a:r>
            <a:endParaRPr lang="en-US" sz="1400">
              <a:cs typeface="Arial"/>
            </a:endParaRP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  <a:endParaRPr lang="en-US" sz="1400" b="1">
              <a:solidFill>
                <a:schemeClr val="accent1"/>
              </a:solidFill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Russian</a:t>
            </a:r>
            <a:endParaRPr lang="en-US" sz="1400">
              <a:cs typeface="Arial"/>
            </a:endParaRP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7E995879-C1D3-F93C-81F4-9165AA8B1DA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  <p:grpSp>
        <p:nvGrpSpPr>
          <p:cNvPr id="3" name="Gruppieren 96">
            <a:extLst>
              <a:ext uri="{FF2B5EF4-FFF2-40B4-BE49-F238E27FC236}">
                <a16:creationId xmlns:a16="http://schemas.microsoft.com/office/drawing/2014/main" id="{1BFE3E70-16EC-B962-E557-9ECF83D51499}"/>
              </a:ext>
            </a:extLst>
          </p:cNvPr>
          <p:cNvGrpSpPr>
            <a:grpSpLocks/>
          </p:cNvGrpSpPr>
          <p:nvPr/>
        </p:nvGrpSpPr>
        <p:grpSpPr>
          <a:xfrm>
            <a:off x="4039335" y="3811846"/>
            <a:ext cx="304976" cy="304976"/>
            <a:chOff x="3476538" y="3554481"/>
            <a:chExt cx="828675" cy="828675"/>
          </a:xfrm>
        </p:grpSpPr>
        <p:sp>
          <p:nvSpPr>
            <p:cNvPr id="5" name="Träne 97">
              <a:extLst>
                <a:ext uri="{FF2B5EF4-FFF2-40B4-BE49-F238E27FC236}">
                  <a16:creationId xmlns:a16="http://schemas.microsoft.com/office/drawing/2014/main" id="{D990599D-6EA9-3081-87D2-1AE5AC8818D4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Ellipse 98">
              <a:extLst>
                <a:ext uri="{FF2B5EF4-FFF2-40B4-BE49-F238E27FC236}">
                  <a16:creationId xmlns:a16="http://schemas.microsoft.com/office/drawing/2014/main" id="{7AB8CE42-0DB8-4E5C-7B31-E841572C3789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047523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